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drawings/drawing1.xml" ContentType="application/vnd.openxmlformats-officedocument.drawingml.chartshapes+xml"/>
  <Override PartName="/ppt/media/image15.svg" ContentType="image/svg+xml"/>
  <Override PartName="/ppt/media/image17.svg" ContentType="image/svg+xml"/>
  <Override PartName="/ppt/media/image19.svg" ContentType="image/svg+xml"/>
  <Override PartName="/ppt/media/image21.svg" ContentType="image/svg+xml"/>
  <Override PartName="/ppt/media/image23.svg" ContentType="image/svg+xml"/>
  <Override PartName="/ppt/media/image25.svg" ContentType="image/svg+xml"/>
  <Override PartName="/ppt/media/image27.svg" ContentType="image/svg+xml"/>
  <Override PartName="/ppt/media/image29.svg" ContentType="image/svg+xml"/>
  <Override PartName="/ppt/media/image31.svg" ContentType="image/svg+xml"/>
  <Override PartName="/ppt/media/image33.svg" ContentType="image/svg+xml"/>
  <Override PartName="/ppt/media/image35.svg" ContentType="image/svg+xml"/>
  <Override PartName="/ppt/media/image37.svg" ContentType="image/svg+xml"/>
  <Override PartName="/ppt/media/image39.svg" ContentType="image/svg+xml"/>
  <Override PartName="/ppt/media/image4.svg" ContentType="image/svg+xml"/>
  <Override PartName="/ppt/media/image41.svg" ContentType="image/svg+xml"/>
  <Override PartName="/ppt/media/image6.svg" ContentType="image/svg+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
  </p:notesMasterIdLst>
  <p:sldIdLst>
    <p:sldId id="259" r:id="rId2"/>
    <p:sldId id="26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F14C3C-EE5B-4F27-99C7-7533D2485734}">
          <p14:sldIdLst>
            <p14:sldId id="259"/>
            <p14:sldId id="262"/>
          </p14:sldIdLst>
        </p14:section>
      </p14:sectionLst>
    </p:ext>
    <p:ext uri="{EFAFB233-063F-42B5-8137-9DF3F51BA10A}">
      <p15:sldGuideLst xmlns:p15="http://schemas.microsoft.com/office/powerpoint/2012/main">
        <p15:guide id="1" pos="144" userDrawn="1">
          <p15:clr>
            <a:srgbClr val="A4A3A4"/>
          </p15:clr>
        </p15:guide>
        <p15:guide id="2" orient="horz"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6004"/>
    <a:srgbClr val="4E7039"/>
    <a:srgbClr val="338B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113D21-A4F0-4C83-A698-9B262FFC7BA6}" v="1651" dt="2025-10-10T15:13:13.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5" autoAdjust="0"/>
    <p:restoredTop sz="94660"/>
  </p:normalViewPr>
  <p:slideViewPr>
    <p:cSldViewPr snapToGrid="0">
      <p:cViewPr varScale="1">
        <p:scale>
          <a:sx n="67" d="100"/>
          <a:sy n="67" d="100"/>
        </p:scale>
        <p:origin x="2634" y="90"/>
      </p:cViewPr>
      <p:guideLst>
        <p:guide pos="144"/>
        <p:guide orient="horz"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ortfolio return USD</c:v>
                </c:pt>
              </c:strCache>
            </c:strRef>
          </c:tx>
          <c:spPr>
            <a:ln w="12700" cap="rnd">
              <a:solidFill>
                <a:srgbClr val="92D050"/>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B$2:$B$1487</c:f>
              <c:numCache>
                <c:formatCode>General</c:formatCode>
                <c:ptCount val="1486"/>
                <c:pt idx="0">
                  <c:v>0.0</c:v>
                </c:pt>
                <c:pt idx="1">
                  <c:v>-0.009429849009284674</c:v>
                </c:pt>
                <c:pt idx="2">
                  <c:v>-0.001922034175097731</c:v>
                </c:pt>
                <c:pt idx="3">
                  <c:v>0.007445291638716434</c:v>
                </c:pt>
                <c:pt idx="4">
                  <c:v>-0.010774189519038413</c:v>
                </c:pt>
                <c:pt idx="5">
                  <c:v>-0.02256645889596387</c:v>
                </c:pt>
                <c:pt idx="6">
                  <c:v>-0.02093953657180947</c:v>
                </c:pt>
                <c:pt idx="7">
                  <c:v>-0.0234403552439153</c:v>
                </c:pt>
                <c:pt idx="8">
                  <c:v>-0.023156773061612013</c:v>
                </c:pt>
                <c:pt idx="9">
                  <c:v>-0.030633450347335778</c:v>
                </c:pt>
                <c:pt idx="10">
                  <c:v>-0.022098875083681246</c:v>
                </c:pt>
                <c:pt idx="11">
                  <c:v>-0.014433085295704084</c:v>
                </c:pt>
                <c:pt idx="12">
                  <c:v>-0.01337134231081094</c:v>
                </c:pt>
                <c:pt idx="13">
                  <c:v>-0.0023617588650840515</c:v>
                </c:pt>
                <c:pt idx="14">
                  <c:v>0.002518027723652283</c:v>
                </c:pt>
                <c:pt idx="15">
                  <c:v>-0.005214672922583374</c:v>
                </c:pt>
                <c:pt idx="16">
                  <c:v>-0.0012821547665398114</c:v>
                </c:pt>
                <c:pt idx="17">
                  <c:v>-0.009930436803036735</c:v>
                </c:pt>
                <c:pt idx="18">
                  <c:v>-0.0012224998915956187</c:v>
                </c:pt>
                <c:pt idx="19">
                  <c:v>-0.001246766343918848</c:v>
                </c:pt>
                <c:pt idx="20">
                  <c:v>-0.0025513302808090055</c:v>
                </c:pt>
                <c:pt idx="21">
                  <c:v>-0.008554804927698223</c:v>
                </c:pt>
                <c:pt idx="22">
                  <c:v>0.0034061314021378575</c:v>
                </c:pt>
                <c:pt idx="23">
                  <c:v>0.002384633778261591</c:v>
                </c:pt>
                <c:pt idx="24">
                  <c:v>-0.0012431107945203301</c:v>
                </c:pt>
                <c:pt idx="25">
                  <c:v>-0.004134780384347669</c:v>
                </c:pt>
                <c:pt idx="26">
                  <c:v>0.0013493869022371818</c:v>
                </c:pt>
                <c:pt idx="27">
                  <c:v>0.00527639742942454</c:v>
                </c:pt>
                <c:pt idx="28">
                  <c:v>0.009670420160692528</c:v>
                </c:pt>
                <c:pt idx="29">
                  <c:v>0.01425715046941467</c:v>
                </c:pt>
                <c:pt idx="30">
                  <c:v>0.03534928942032689</c:v>
                </c:pt>
                <c:pt idx="31">
                  <c:v>0.03181777236554195</c:v>
                </c:pt>
                <c:pt idx="32">
                  <c:v>0.027260949422706515</c:v>
                </c:pt>
                <c:pt idx="33">
                  <c:v>0.01978162586832166</c:v>
                </c:pt>
                <c:pt idx="34">
                  <c:v>0.02620809032198923</c:v>
                </c:pt>
                <c:pt idx="35">
                  <c:v>0.03767620871775956</c:v>
                </c:pt>
                <c:pt idx="36">
                  <c:v>0.037019877636085496</c:v>
                </c:pt>
                <c:pt idx="37">
                  <c:v>0.029209576395140546</c:v>
                </c:pt>
                <c:pt idx="38">
                  <c:v>0.02161136305841871</c:v>
                </c:pt>
                <c:pt idx="39">
                  <c:v>0.028385291527068146</c:v>
                </c:pt>
                <c:pt idx="40">
                  <c:v>0.036109405654807025</c:v>
                </c:pt>
                <c:pt idx="41">
                  <c:v>0.041921943725420796</c:v>
                </c:pt>
                <c:pt idx="42">
                  <c:v>0.0358034215061267</c:v>
                </c:pt>
                <c:pt idx="43">
                  <c:v>0.03855403122715639</c:v>
                </c:pt>
                <c:pt idx="44">
                  <c:v>0.04017263345717437</c:v>
                </c:pt>
                <c:pt idx="45">
                  <c:v>0.04280171313111358</c:v>
                </c:pt>
                <c:pt idx="46">
                  <c:v>0.05190388441592564</c:v>
                </c:pt>
                <c:pt idx="47">
                  <c:v>0.05461165091370779</c:v>
                </c:pt>
                <c:pt idx="48">
                  <c:v>0.061888132615619096</c:v>
                </c:pt>
                <c:pt idx="49">
                  <c:v>0.06304771568837886</c:v>
                </c:pt>
                <c:pt idx="50">
                  <c:v>0.0664458904656553</c:v>
                </c:pt>
                <c:pt idx="51">
                  <c:v>0.07332152109074119</c:v>
                </c:pt>
                <c:pt idx="52">
                  <c:v>0.05894654711541181</c:v>
                </c:pt>
                <c:pt idx="53">
                  <c:v>0.056207183119263204</c:v>
                </c:pt>
                <c:pt idx="54">
                  <c:v>0.05196277207770117</c:v>
                </c:pt>
                <c:pt idx="55">
                  <c:v>0.04605143605869366</c:v>
                </c:pt>
                <c:pt idx="56">
                  <c:v>0.04378793620826715</c:v>
                </c:pt>
                <c:pt idx="57">
                  <c:v>0.05908145698661649</c:v>
                </c:pt>
                <c:pt idx="58">
                  <c:v>0.05084667968688916</c:v>
                </c:pt>
                <c:pt idx="59">
                  <c:v>0.06098592558513216</c:v>
                </c:pt>
                <c:pt idx="60">
                  <c:v>0.044501108400013534</c:v>
                </c:pt>
                <c:pt idx="61">
                  <c:v>0.041648149941229784</c:v>
                </c:pt>
                <c:pt idx="62">
                  <c:v>0.04372744018576036</c:v>
                </c:pt>
                <c:pt idx="63">
                  <c:v>0.05000975270009289</c:v>
                </c:pt>
                <c:pt idx="64">
                  <c:v>0.05757680811784738</c:v>
                </c:pt>
                <c:pt idx="65">
                  <c:v>0.0660234612304531</c:v>
                </c:pt>
                <c:pt idx="66">
                  <c:v>0.06297155525691367</c:v>
                </c:pt>
                <c:pt idx="67">
                  <c:v>0.058780957817596846</c:v>
                </c:pt>
                <c:pt idx="68">
                  <c:v>0.06788729023936213</c:v>
                </c:pt>
                <c:pt idx="69">
                  <c:v>0.06642707067743547</c:v>
                </c:pt>
                <c:pt idx="70">
                  <c:v>0.053982911784685284</c:v>
                </c:pt>
                <c:pt idx="71">
                  <c:v>0.04310978319680281</c:v>
                </c:pt>
                <c:pt idx="72">
                  <c:v>0.034467830689487444</c:v>
                </c:pt>
                <c:pt idx="73">
                  <c:v>0.039819160779148044</c:v>
                </c:pt>
                <c:pt idx="74">
                  <c:v>0.04169400099036391</c:v>
                </c:pt>
                <c:pt idx="75">
                  <c:v>0.048995870576298506</c:v>
                </c:pt>
                <c:pt idx="76">
                  <c:v>0.04521014923190947</c:v>
                </c:pt>
                <c:pt idx="77">
                  <c:v>0.047254713093673795</c:v>
                </c:pt>
                <c:pt idx="78">
                  <c:v>0.05394992635577589</c:v>
                </c:pt>
                <c:pt idx="79">
                  <c:v>0.0513268640764486</c:v>
                </c:pt>
                <c:pt idx="80">
                  <c:v>0.05636205190712862</c:v>
                </c:pt>
                <c:pt idx="81">
                  <c:v>0.05019469709998736</c:v>
                </c:pt>
                <c:pt idx="82">
                  <c:v>0.04704515108165053</c:v>
                </c:pt>
                <c:pt idx="83">
                  <c:v>0.04371920169613408</c:v>
                </c:pt>
                <c:pt idx="84">
                  <c:v>0.03233172773451498</c:v>
                </c:pt>
                <c:pt idx="85">
                  <c:v>0.03757208986525673</c:v>
                </c:pt>
                <c:pt idx="86">
                  <c:v>0.03341212901813417</c:v>
                </c:pt>
                <c:pt idx="87">
                  <c:v>0.03399982442762095</c:v>
                </c:pt>
                <c:pt idx="88">
                  <c:v>0.03918749797719068</c:v>
                </c:pt>
                <c:pt idx="89">
                  <c:v>0.04406341369936029</c:v>
                </c:pt>
                <c:pt idx="90">
                  <c:v>0.05113293259436391</c:v>
                </c:pt>
                <c:pt idx="91">
                  <c:v>0.050622489720603125</c:v>
                </c:pt>
                <c:pt idx="92">
                  <c:v>0.046870365939280845</c:v>
                </c:pt>
                <c:pt idx="93">
                  <c:v>0.046548638594029246</c:v>
                </c:pt>
                <c:pt idx="94">
                  <c:v>0.030243748711636487</c:v>
                </c:pt>
                <c:pt idx="95">
                  <c:v>0.016544011903789624</c:v>
                </c:pt>
                <c:pt idx="96">
                  <c:v>0.004227924189526222</c:v>
                </c:pt>
                <c:pt idx="97">
                  <c:v>-0.004834072804663414</c:v>
                </c:pt>
                <c:pt idx="98">
                  <c:v>-0.0006067520918681124</c:v>
                </c:pt>
                <c:pt idx="99">
                  <c:v>-0.00875385684377572</c:v>
                </c:pt>
                <c:pt idx="100">
                  <c:v>-0.011868891724543085</c:v>
                </c:pt>
                <c:pt idx="101">
                  <c:v>0.0007719423032255257</c:v>
                </c:pt>
                <c:pt idx="102">
                  <c:v>-0.002164830692510167</c:v>
                </c:pt>
                <c:pt idx="103">
                  <c:v>0.005275425368896913</c:v>
                </c:pt>
                <c:pt idx="104">
                  <c:v>-0.0031883583385236003</c:v>
                </c:pt>
                <c:pt idx="105">
                  <c:v>-0.004685227318286911</c:v>
                </c:pt>
                <c:pt idx="106">
                  <c:v>-0.013220260034026543</c:v>
                </c:pt>
                <c:pt idx="107">
                  <c:v>-0.0159544433705735</c:v>
                </c:pt>
                <c:pt idx="108">
                  <c:v>-0.007656058725877601</c:v>
                </c:pt>
                <c:pt idx="109">
                  <c:v>-0.023493415539946993</c:v>
                </c:pt>
                <c:pt idx="110">
                  <c:v>-0.019023920867447308</c:v>
                </c:pt>
                <c:pt idx="111">
                  <c:v>-0.016366958710899437</c:v>
                </c:pt>
                <c:pt idx="112">
                  <c:v>-0.021476366357405685</c:v>
                </c:pt>
                <c:pt idx="113">
                  <c:v>-0.03447854769053571</c:v>
                </c:pt>
                <c:pt idx="114">
                  <c:v>-0.03338245846009513</c:v>
                </c:pt>
                <c:pt idx="115">
                  <c:v>-0.0378097415030384</c:v>
                </c:pt>
                <c:pt idx="116">
                  <c:v>-0.03524990743919476</c:v>
                </c:pt>
                <c:pt idx="117">
                  <c:v>-0.03461549223308669</c:v>
                </c:pt>
                <c:pt idx="118">
                  <c:v>-0.01949091020237359</c:v>
                </c:pt>
                <c:pt idx="119">
                  <c:v>-0.021279239612064016</c:v>
                </c:pt>
                <c:pt idx="120">
                  <c:v>-0.030355138590112518</c:v>
                </c:pt>
                <c:pt idx="121">
                  <c:v>-0.02826737826946979</c:v>
                </c:pt>
                <c:pt idx="122">
                  <c:v>-0.02579920802205582</c:v>
                </c:pt>
                <c:pt idx="123">
                  <c:v>-0.012781662349330647</c:v>
                </c:pt>
                <c:pt idx="124">
                  <c:v>-0.004505261305908781</c:v>
                </c:pt>
                <c:pt idx="125">
                  <c:v>-0.000682287686628924</c:v>
                </c:pt>
                <c:pt idx="126">
                  <c:v>0.013659298011825305</c:v>
                </c:pt>
                <c:pt idx="127">
                  <c:v>0.0026679378260314746</c:v>
                </c:pt>
                <c:pt idx="128">
                  <c:v>-0.0029747159275475</c:v>
                </c:pt>
                <c:pt idx="129">
                  <c:v>-0.0113023411410631</c:v>
                </c:pt>
                <c:pt idx="130">
                  <c:v>-0.014518765572490211</c:v>
                </c:pt>
                <c:pt idx="131">
                  <c:v>-0.026963933476071733</c:v>
                </c:pt>
                <c:pt idx="132">
                  <c:v>-0.02065483184623207</c:v>
                </c:pt>
                <c:pt idx="133">
                  <c:v>-0.022281637404811816</c:v>
                </c:pt>
                <c:pt idx="134">
                  <c:v>-0.035502990200224294</c:v>
                </c:pt>
                <c:pt idx="135">
                  <c:v>-0.04437443492269322</c:v>
                </c:pt>
                <c:pt idx="136">
                  <c:v>-0.04109818586593139</c:v>
                </c:pt>
                <c:pt idx="137">
                  <c:v>-0.03303170972850622</c:v>
                </c:pt>
                <c:pt idx="138">
                  <c:v>-0.01425420716140502</c:v>
                </c:pt>
                <c:pt idx="139">
                  <c:v>0.013476491279754033</c:v>
                </c:pt>
                <c:pt idx="140">
                  <c:v>0.017922500775532813</c:v>
                </c:pt>
                <c:pt idx="141">
                  <c:v>0.008811471282204053</c:v>
                </c:pt>
                <c:pt idx="142">
                  <c:v>-0.011167474636128771</c:v>
                </c:pt>
                <c:pt idx="143">
                  <c:v>-0.008207642886620903</c:v>
                </c:pt>
                <c:pt idx="144">
                  <c:v>-0.01542088959448551</c:v>
                </c:pt>
                <c:pt idx="145">
                  <c:v>-0.018862873771220756</c:v>
                </c:pt>
                <c:pt idx="146">
                  <c:v>-0.024126595561249964</c:v>
                </c:pt>
                <c:pt idx="147">
                  <c:v>-0.02499269630484291</c:v>
                </c:pt>
                <c:pt idx="148">
                  <c:v>-0.014680227167360393</c:v>
                </c:pt>
                <c:pt idx="149">
                  <c:v>-0.012766774210995813</c:v>
                </c:pt>
                <c:pt idx="150">
                  <c:v>-0.01381031028736679</c:v>
                </c:pt>
                <c:pt idx="151">
                  <c:v>-0.023069359931911726</c:v>
                </c:pt>
                <c:pt idx="152">
                  <c:v>-0.03817220741415195</c:v>
                </c:pt>
                <c:pt idx="153">
                  <c:v>-0.04218295730314825</c:v>
                </c:pt>
                <c:pt idx="154">
                  <c:v>-0.04224132114978285</c:v>
                </c:pt>
                <c:pt idx="155">
                  <c:v>-0.025724452670164877</c:v>
                </c:pt>
                <c:pt idx="156">
                  <c:v>-0.024080257507110736</c:v>
                </c:pt>
                <c:pt idx="157">
                  <c:v>-0.014529882162904406</c:v>
                </c:pt>
                <c:pt idx="158">
                  <c:v>-0.018760809086992847</c:v>
                </c:pt>
                <c:pt idx="159">
                  <c:v>-0.029365027446128344</c:v>
                </c:pt>
                <c:pt idx="160">
                  <c:v>-0.03782761448767569</c:v>
                </c:pt>
                <c:pt idx="161">
                  <c:v>-0.04402366559342086</c:v>
                </c:pt>
                <c:pt idx="162">
                  <c:v>-0.024263192662205113</c:v>
                </c:pt>
                <c:pt idx="163">
                  <c:v>-0.03143795465067689</c:v>
                </c:pt>
                <c:pt idx="164">
                  <c:v>-0.02328687795761486</c:v>
                </c:pt>
                <c:pt idx="165">
                  <c:v>-0.031225414872015578</c:v>
                </c:pt>
                <c:pt idx="166">
                  <c:v>-0.022215865847603156</c:v>
                </c:pt>
                <c:pt idx="167">
                  <c:v>-0.01820007298992765</c:v>
                </c:pt>
                <c:pt idx="168">
                  <c:v>-0.019219240249406577</c:v>
                </c:pt>
                <c:pt idx="169">
                  <c:v>-0.019157690370367075</c:v>
                </c:pt>
                <c:pt idx="170">
                  <c:v>-0.024817624348303036</c:v>
                </c:pt>
                <c:pt idx="171">
                  <c:v>-0.020246275662301638</c:v>
                </c:pt>
                <c:pt idx="172">
                  <c:v>-0.024040218200421792</c:v>
                </c:pt>
                <c:pt idx="173">
                  <c:v>-0.034964384669508464</c:v>
                </c:pt>
                <c:pt idx="174">
                  <c:v>-0.04624604373979091</c:v>
                </c:pt>
                <c:pt idx="175">
                  <c:v>-0.044253093570836954</c:v>
                </c:pt>
                <c:pt idx="176">
                  <c:v>-0.02948549742174955</c:v>
                </c:pt>
                <c:pt idx="177">
                  <c:v>-0.027573661173582176</c:v>
                </c:pt>
                <c:pt idx="178">
                  <c:v>-0.028232056135593875</c:v>
                </c:pt>
                <c:pt idx="179">
                  <c:v>-0.025156072101004345</c:v>
                </c:pt>
                <c:pt idx="180">
                  <c:v>-0.01262248759003004</c:v>
                </c:pt>
                <c:pt idx="181">
                  <c:v>-0.010120340899047786</c:v>
                </c:pt>
                <c:pt idx="182">
                  <c:v>-0.013539195870595933</c:v>
                </c:pt>
                <c:pt idx="183">
                  <c:v>-0.0027278392287506392</c:v>
                </c:pt>
                <c:pt idx="184">
                  <c:v>0.0017830084119740963</c:v>
                </c:pt>
                <c:pt idx="185">
                  <c:v>0.016849506215319776</c:v>
                </c:pt>
                <c:pt idx="186">
                  <c:v>0.019077146039718773</c:v>
                </c:pt>
                <c:pt idx="187">
                  <c:v>0.007681360895969158</c:v>
                </c:pt>
                <c:pt idx="188">
                  <c:v>-0.004962533467900765</c:v>
                </c:pt>
                <c:pt idx="189">
                  <c:v>0.011091217289626254</c:v>
                </c:pt>
                <c:pt idx="190">
                  <c:v>0.028102649419764703</c:v>
                </c:pt>
                <c:pt idx="191">
                  <c:v>0.026811935913426455</c:v>
                </c:pt>
                <c:pt idx="192">
                  <c:v>0.023536118791772864</c:v>
                </c:pt>
                <c:pt idx="193">
                  <c:v>0.03820719972299291</c:v>
                </c:pt>
                <c:pt idx="194">
                  <c:v>0.027755636386430194</c:v>
                </c:pt>
                <c:pt idx="195">
                  <c:v>0.019482299423592808</c:v>
                </c:pt>
                <c:pt idx="196">
                  <c:v>0.02617173911767212</c:v>
                </c:pt>
                <c:pt idx="197">
                  <c:v>0.02278665646097444</c:v>
                </c:pt>
                <c:pt idx="198">
                  <c:v>0.023197143975475898</c:v>
                </c:pt>
                <c:pt idx="199">
                  <c:v>0.022068856774018153</c:v>
                </c:pt>
                <c:pt idx="200">
                  <c:v>0.025806519874652212</c:v>
                </c:pt>
                <c:pt idx="201">
                  <c:v>0.03998427147303474</c:v>
                </c:pt>
                <c:pt idx="202">
                  <c:v>0.041347229740098745</c:v>
                </c:pt>
                <c:pt idx="203">
                  <c:v>0.04818619283924175</c:v>
                </c:pt>
                <c:pt idx="204">
                  <c:v>0.028242736778192334</c:v>
                </c:pt>
                <c:pt idx="205">
                  <c:v>0.02822954975188785</c:v>
                </c:pt>
                <c:pt idx="206">
                  <c:v>0.020455427378252233</c:v>
                </c:pt>
                <c:pt idx="207">
                  <c:v>0.00909906049711906</c:v>
                </c:pt>
                <c:pt idx="208">
                  <c:v>0.0011347991541519331</c:v>
                </c:pt>
                <c:pt idx="209">
                  <c:v>-0.0015924649213662212</c:v>
                </c:pt>
                <c:pt idx="210">
                  <c:v>0.007544036466435422</c:v>
                </c:pt>
                <c:pt idx="211">
                  <c:v>-0.0046983599084791106</c:v>
                </c:pt>
                <c:pt idx="212">
                  <c:v>-0.003960842209669968</c:v>
                </c:pt>
                <c:pt idx="213">
                  <c:v>-0.00809401587741565</c:v>
                </c:pt>
                <c:pt idx="214">
                  <c:v>-0.010735356764329684</c:v>
                </c:pt>
                <c:pt idx="215">
                  <c:v>-0.0008662554830071167</c:v>
                </c:pt>
                <c:pt idx="216">
                  <c:v>0.0046910229718089</c:v>
                </c:pt>
                <c:pt idx="217">
                  <c:v>0.017908016722674835</c:v>
                </c:pt>
                <c:pt idx="218">
                  <c:v>0.01687198591959227</c:v>
                </c:pt>
                <c:pt idx="219">
                  <c:v>0.01060657512990737</c:v>
                </c:pt>
                <c:pt idx="220">
                  <c:v>0.008912132762433744</c:v>
                </c:pt>
                <c:pt idx="221">
                  <c:v>0.011690393793436948</c:v>
                </c:pt>
                <c:pt idx="222">
                  <c:v>0.01384271139084503</c:v>
                </c:pt>
                <c:pt idx="223">
                  <c:v>0.003854650649117941</c:v>
                </c:pt>
                <c:pt idx="224">
                  <c:v>0.0051693518290820695</c:v>
                </c:pt>
                <c:pt idx="225">
                  <c:v>0.007801055202815377</c:v>
                </c:pt>
                <c:pt idx="226">
                  <c:v>0.03235713909664417</c:v>
                </c:pt>
                <c:pt idx="227">
                  <c:v>0.05122865217683881</c:v>
                </c:pt>
                <c:pt idx="228">
                  <c:v>0.043180643425143606</c:v>
                </c:pt>
                <c:pt idx="229">
                  <c:v>0.040802043494584606</c:v>
                </c:pt>
                <c:pt idx="230">
                  <c:v>0.026800446866703576</c:v>
                </c:pt>
                <c:pt idx="231">
                  <c:v>0.021500393921696226</c:v>
                </c:pt>
                <c:pt idx="232">
                  <c:v>0.025022780136127354</c:v>
                </c:pt>
                <c:pt idx="233">
                  <c:v>0.03722630098092927</c:v>
                </c:pt>
                <c:pt idx="234">
                  <c:v>0.03050891596115668</c:v>
                </c:pt>
                <c:pt idx="235">
                  <c:v>0.02456865945441522</c:v>
                </c:pt>
                <c:pt idx="236">
                  <c:v>0.004129287445894914</c:v>
                </c:pt>
                <c:pt idx="237">
                  <c:v>0.003029438283804975</c:v>
                </c:pt>
                <c:pt idx="238">
                  <c:v>-0.0066427113111124925</c:v>
                </c:pt>
                <c:pt idx="239">
                  <c:v>-0.011191964415089406</c:v>
                </c:pt>
                <c:pt idx="240">
                  <c:v>-0.018983947142719004</c:v>
                </c:pt>
                <c:pt idx="241">
                  <c:v>-0.019420984168531552</c:v>
                </c:pt>
                <c:pt idx="242">
                  <c:v>-0.035353843584314926</c:v>
                </c:pt>
                <c:pt idx="243">
                  <c:v>-0.048363958607843927</c:v>
                </c:pt>
                <c:pt idx="244">
                  <c:v>-0.028686173607272658</c:v>
                </c:pt>
                <c:pt idx="245">
                  <c:v>-0.04012875024461193</c:v>
                </c:pt>
                <c:pt idx="246">
                  <c:v>-0.04969815114931886</c:v>
                </c:pt>
                <c:pt idx="247">
                  <c:v>-0.03268710325698154</c:v>
                </c:pt>
                <c:pt idx="248">
                  <c:v>-0.0055557775356929184</c:v>
                </c:pt>
                <c:pt idx="249">
                  <c:v>-0.016176325455623752</c:v>
                </c:pt>
                <c:pt idx="250">
                  <c:v>-0.01917537919931478</c:v>
                </c:pt>
                <c:pt idx="251">
                  <c:v>-0.01555145022948523</c:v>
                </c:pt>
                <c:pt idx="252">
                  <c:v>0.0010587835636659548</c:v>
                </c:pt>
                <c:pt idx="253">
                  <c:v>-0.007875808475314883</c:v>
                </c:pt>
                <c:pt idx="254">
                  <c:v>-0.009741140392868997</c:v>
                </c:pt>
                <c:pt idx="255">
                  <c:v>-0.0019827524008393382</c:v>
                </c:pt>
                <c:pt idx="256">
                  <c:v>0.002588443749972802</c:v>
                </c:pt>
                <c:pt idx="257">
                  <c:v>-0.0005431238859258114</c:v>
                </c:pt>
                <c:pt idx="258">
                  <c:v>-0.0013639959713159788</c:v>
                </c:pt>
                <c:pt idx="259">
                  <c:v>-0.013958304101753694</c:v>
                </c:pt>
                <c:pt idx="260">
                  <c:v>-0.01574565314165799</c:v>
                </c:pt>
                <c:pt idx="261">
                  <c:v>-0.01779357261297665</c:v>
                </c:pt>
                <c:pt idx="262">
                  <c:v>-0.015185211521204334</c:v>
                </c:pt>
                <c:pt idx="263">
                  <c:v>-0.019937542212997594</c:v>
                </c:pt>
                <c:pt idx="264">
                  <c:v>-0.015106210675198573</c:v>
                </c:pt>
                <c:pt idx="265">
                  <c:v>-0.005187542036445891</c:v>
                </c:pt>
                <c:pt idx="266">
                  <c:v>-0.003270957631136162</c:v>
                </c:pt>
                <c:pt idx="267">
                  <c:v>0.0005083258047926531</c:v>
                </c:pt>
                <c:pt idx="268">
                  <c:v>0.001463787045625553</c:v>
                </c:pt>
                <c:pt idx="269">
                  <c:v>0.0019152486577329597</c:v>
                </c:pt>
                <c:pt idx="270">
                  <c:v>-0.004501819448052613</c:v>
                </c:pt>
                <c:pt idx="271">
                  <c:v>-0.0010606853811205852</c:v>
                </c:pt>
                <c:pt idx="272">
                  <c:v>-0.0015344050649793717</c:v>
                </c:pt>
                <c:pt idx="273">
                  <c:v>0.018769491591058785</c:v>
                </c:pt>
                <c:pt idx="274">
                  <c:v>0.0344553546161015</c:v>
                </c:pt>
                <c:pt idx="275">
                  <c:v>0.0387126993330249</c:v>
                </c:pt>
                <c:pt idx="276">
                  <c:v>0.03165044651446269</c:v>
                </c:pt>
                <c:pt idx="277">
                  <c:v>0.021212301193488825</c:v>
                </c:pt>
                <c:pt idx="278">
                  <c:v>0.03322774017268171</c:v>
                </c:pt>
                <c:pt idx="279">
                  <c:v>0.03627175064300303</c:v>
                </c:pt>
                <c:pt idx="280">
                  <c:v>0.041464883860119484</c:v>
                </c:pt>
                <c:pt idx="281">
                  <c:v>0.024672755155930037</c:v>
                </c:pt>
                <c:pt idx="282">
                  <c:v>0.034161906865040725</c:v>
                </c:pt>
                <c:pt idx="283">
                  <c:v>0.039091749656247066</c:v>
                </c:pt>
                <c:pt idx="284">
                  <c:v>0.028597866997560173</c:v>
                </c:pt>
                <c:pt idx="285">
                  <c:v>0.02445314663150433</c:v>
                </c:pt>
                <c:pt idx="286">
                  <c:v>0.02748072678581548</c:v>
                </c:pt>
                <c:pt idx="287">
                  <c:v>0.028455225041887466</c:v>
                </c:pt>
                <c:pt idx="288">
                  <c:v>0.02606342255801586</c:v>
                </c:pt>
                <c:pt idx="289">
                  <c:v>0.025516388596166673</c:v>
                </c:pt>
                <c:pt idx="290">
                  <c:v>0.02352300512742156</c:v>
                </c:pt>
                <c:pt idx="291">
                  <c:v>0.025467027267869646</c:v>
                </c:pt>
                <c:pt idx="292">
                  <c:v>0.040263669172481587</c:v>
                </c:pt>
                <c:pt idx="293">
                  <c:v>0.01536677331448999</c:v>
                </c:pt>
                <c:pt idx="294">
                  <c:v>0.013539034418559526</c:v>
                </c:pt>
                <c:pt idx="295">
                  <c:v>0.015694698160694687</c:v>
                </c:pt>
                <c:pt idx="296">
                  <c:v>0.019007836271986767</c:v>
                </c:pt>
                <c:pt idx="297">
                  <c:v>0.015866043006802055</c:v>
                </c:pt>
                <c:pt idx="298">
                  <c:v>-0.0006304603292333066</c:v>
                </c:pt>
                <c:pt idx="299">
                  <c:v>0.0029332485715662937</c:v>
                </c:pt>
                <c:pt idx="300">
                  <c:v>0.01984252966969202</c:v>
                </c:pt>
                <c:pt idx="301">
                  <c:v>0.00544063640219572</c:v>
                </c:pt>
                <c:pt idx="302">
                  <c:v>0.01414409867300681</c:v>
                </c:pt>
                <c:pt idx="303">
                  <c:v>0.011435330312604242</c:v>
                </c:pt>
                <c:pt idx="304">
                  <c:v>0.011301232916438586</c:v>
                </c:pt>
                <c:pt idx="305">
                  <c:v>0.0016407416321484458</c:v>
                </c:pt>
                <c:pt idx="306">
                  <c:v>-0.0010910668550759839</c:v>
                </c:pt>
                <c:pt idx="307">
                  <c:v>0.01169539067658909</c:v>
                </c:pt>
                <c:pt idx="308">
                  <c:v>0.017750615017782412</c:v>
                </c:pt>
                <c:pt idx="309">
                  <c:v>0.0349576842117203</c:v>
                </c:pt>
                <c:pt idx="310">
                  <c:v>0.04699984424842274</c:v>
                </c:pt>
                <c:pt idx="311">
                  <c:v>0.05183836918061746</c:v>
                </c:pt>
                <c:pt idx="312">
                  <c:v>0.0697379003023888</c:v>
                </c:pt>
                <c:pt idx="313">
                  <c:v>0.07468055474634516</c:v>
                </c:pt>
                <c:pt idx="314">
                  <c:v>0.0836174775310361</c:v>
                </c:pt>
                <c:pt idx="315">
                  <c:v>0.0810520954444316</c:v>
                </c:pt>
                <c:pt idx="316">
                  <c:v>0.08222199407731923</c:v>
                </c:pt>
                <c:pt idx="317">
                  <c:v>0.07553870366734805</c:v>
                </c:pt>
                <c:pt idx="318">
                  <c:v>0.08613388639474784</c:v>
                </c:pt>
                <c:pt idx="319">
                  <c:v>0.07446458945512147</c:v>
                </c:pt>
                <c:pt idx="320">
                  <c:v>0.08293387204539715</c:v>
                </c:pt>
                <c:pt idx="321">
                  <c:v>0.0814597986526382</c:v>
                </c:pt>
                <c:pt idx="322">
                  <c:v>0.09397969369783143</c:v>
                </c:pt>
                <c:pt idx="323">
                  <c:v>0.10227562110984012</c:v>
                </c:pt>
                <c:pt idx="324">
                  <c:v>0.12183675694463258</c:v>
                </c:pt>
                <c:pt idx="325">
                  <c:v>0.13012977762611766</c:v>
                </c:pt>
                <c:pt idx="326">
                  <c:v>0.11376054573291272</c:v>
                </c:pt>
                <c:pt idx="327">
                  <c:v>0.11355332485582892</c:v>
                </c:pt>
                <c:pt idx="328">
                  <c:v>0.10165604504435932</c:v>
                </c:pt>
                <c:pt idx="329">
                  <c:v>0.09672761211163872</c:v>
                </c:pt>
                <c:pt idx="330">
                  <c:v>0.11296649607142561</c:v>
                </c:pt>
                <c:pt idx="331">
                  <c:v>0.12020809182525571</c:v>
                </c:pt>
                <c:pt idx="332">
                  <c:v>0.11327418401026734</c:v>
                </c:pt>
                <c:pt idx="333">
                  <c:v>0.10305397634063285</c:v>
                </c:pt>
                <c:pt idx="334">
                  <c:v>0.1038938746000353</c:v>
                </c:pt>
                <c:pt idx="335">
                  <c:v>0.09163257052225404</c:v>
                </c:pt>
                <c:pt idx="336">
                  <c:v>0.08516373861013227</c:v>
                </c:pt>
                <c:pt idx="337">
                  <c:v>0.08886858525649477</c:v>
                </c:pt>
                <c:pt idx="338">
                  <c:v>0.10130941445157071</c:v>
                </c:pt>
                <c:pt idx="339">
                  <c:v>0.10817413372297757</c:v>
                </c:pt>
                <c:pt idx="340">
                  <c:v>0.08455090830331002</c:v>
                </c:pt>
                <c:pt idx="341">
                  <c:v>0.08817491773010389</c:v>
                </c:pt>
                <c:pt idx="342">
                  <c:v>0.089409255155531</c:v>
                </c:pt>
                <c:pt idx="343">
                  <c:v>0.09418300044163885</c:v>
                </c:pt>
                <c:pt idx="344">
                  <c:v>0.11147545980055118</c:v>
                </c:pt>
                <c:pt idx="345">
                  <c:v>0.09018985598975959</c:v>
                </c:pt>
                <c:pt idx="346">
                  <c:v>0.08455849932410575</c:v>
                </c:pt>
                <c:pt idx="347">
                  <c:v>0.0911348391583553</c:v>
                </c:pt>
                <c:pt idx="348">
                  <c:v>0.07523138870468826</c:v>
                </c:pt>
                <c:pt idx="349">
                  <c:v>0.09079161690326676</c:v>
                </c:pt>
                <c:pt idx="350">
                  <c:v>0.09509957602993846</c:v>
                </c:pt>
                <c:pt idx="351">
                  <c:v>0.10439976159687503</c:v>
                </c:pt>
                <c:pt idx="352">
                  <c:v>0.09890651607472956</c:v>
                </c:pt>
                <c:pt idx="353">
                  <c:v>0.10789640111072751</c:v>
                </c:pt>
                <c:pt idx="354">
                  <c:v>0.11964063451113716</c:v>
                </c:pt>
                <c:pt idx="355">
                  <c:v>0.12262149989185289</c:v>
                </c:pt>
                <c:pt idx="356">
                  <c:v>0.12562654264330964</c:v>
                </c:pt>
                <c:pt idx="357">
                  <c:v>0.12902397708221613</c:v>
                </c:pt>
                <c:pt idx="358">
                  <c:v>0.12027203158018729</c:v>
                </c:pt>
                <c:pt idx="359">
                  <c:v>0.11920606757827068</c:v>
                </c:pt>
                <c:pt idx="360">
                  <c:v>0.1180880209429318</c:v>
                </c:pt>
                <c:pt idx="361">
                  <c:v>0.12266350737920462</c:v>
                </c:pt>
                <c:pt idx="362">
                  <c:v>0.13383213481761658</c:v>
                </c:pt>
                <c:pt idx="363">
                  <c:v>0.12294043813497946</c:v>
                </c:pt>
                <c:pt idx="364">
                  <c:v>0.1221121732270003</c:v>
                </c:pt>
                <c:pt idx="365">
                  <c:v>0.13840953709411896</c:v>
                </c:pt>
                <c:pt idx="366">
                  <c:v>0.1308799960379754</c:v>
                </c:pt>
                <c:pt idx="367">
                  <c:v>0.12255516412138512</c:v>
                </c:pt>
                <c:pt idx="368">
                  <c:v>0.12521776261879114</c:v>
                </c:pt>
                <c:pt idx="369">
                  <c:v>0.1347502241528198</c:v>
                </c:pt>
                <c:pt idx="370">
                  <c:v>0.13538403608522076</c:v>
                </c:pt>
                <c:pt idx="371">
                  <c:v>0.15022932497166042</c:v>
                </c:pt>
                <c:pt idx="372">
                  <c:v>0.16010926902786693</c:v>
                </c:pt>
                <c:pt idx="373">
                  <c:v>0.16990904919223127</c:v>
                </c:pt>
                <c:pt idx="374">
                  <c:v>0.17659403440182286</c:v>
                </c:pt>
                <c:pt idx="375">
                  <c:v>0.20314117786153285</c:v>
                </c:pt>
                <c:pt idx="376">
                  <c:v>0.20133762586962423</c:v>
                </c:pt>
                <c:pt idx="377">
                  <c:v>0.179012614020849</c:v>
                </c:pt>
                <c:pt idx="378">
                  <c:v>0.19751181291626185</c:v>
                </c:pt>
                <c:pt idx="379">
                  <c:v>0.1928437387163835</c:v>
                </c:pt>
                <c:pt idx="380">
                  <c:v>0.19460302126816864</c:v>
                </c:pt>
                <c:pt idx="381">
                  <c:v>0.2100023280718024</c:v>
                </c:pt>
                <c:pt idx="382">
                  <c:v>0.19212882025829736</c:v>
                </c:pt>
                <c:pt idx="383">
                  <c:v>0.17849009341846012</c:v>
                </c:pt>
                <c:pt idx="384">
                  <c:v>0.1610930571963094</c:v>
                </c:pt>
                <c:pt idx="385">
                  <c:v>0.15285592081029442</c:v>
                </c:pt>
                <c:pt idx="386">
                  <c:v>0.1581896637850495</c:v>
                </c:pt>
                <c:pt idx="387">
                  <c:v>0.1644783840773143</c:v>
                </c:pt>
                <c:pt idx="388">
                  <c:v>0.16805869479426372</c:v>
                </c:pt>
                <c:pt idx="389">
                  <c:v>0.15290748320022374</c:v>
                </c:pt>
                <c:pt idx="390">
                  <c:v>0.12812460394659086</c:v>
                </c:pt>
                <c:pt idx="391">
                  <c:v>0.12921477737978693</c:v>
                </c:pt>
                <c:pt idx="392">
                  <c:v>0.12466192757602657</c:v>
                </c:pt>
                <c:pt idx="393">
                  <c:v>0.1300762354748739</c:v>
                </c:pt>
                <c:pt idx="394">
                  <c:v>0.13812075033911952</c:v>
                </c:pt>
                <c:pt idx="395">
                  <c:v>0.14012759137940667</c:v>
                </c:pt>
                <c:pt idx="396">
                  <c:v>0.14887381148122225</c:v>
                </c:pt>
                <c:pt idx="397">
                  <c:v>0.1518924866740261</c:v>
                </c:pt>
                <c:pt idx="398">
                  <c:v>0.15821132503544666</c:v>
                </c:pt>
                <c:pt idx="399">
                  <c:v>0.1509789948734095</c:v>
                </c:pt>
                <c:pt idx="400">
                  <c:v>0.1495330102577872</c:v>
                </c:pt>
                <c:pt idx="401">
                  <c:v>0.15219920599040337</c:v>
                </c:pt>
                <c:pt idx="402">
                  <c:v>0.16169911208284926</c:v>
                </c:pt>
                <c:pt idx="403">
                  <c:v>0.15787649336673093</c:v>
                </c:pt>
                <c:pt idx="404">
                  <c:v>0.1641302872767303</c:v>
                </c:pt>
                <c:pt idx="405">
                  <c:v>0.16171417150858836</c:v>
                </c:pt>
                <c:pt idx="406">
                  <c:v>0.16093971407118546</c:v>
                </c:pt>
                <c:pt idx="407">
                  <c:v>0.17061084213742594</c:v>
                </c:pt>
                <c:pt idx="408">
                  <c:v>0.14897318526217873</c:v>
                </c:pt>
                <c:pt idx="409">
                  <c:v>0.13533890976181961</c:v>
                </c:pt>
                <c:pt idx="410">
                  <c:v>0.11986337611583497</c:v>
                </c:pt>
                <c:pt idx="411">
                  <c:v>0.0955406679830364</c:v>
                </c:pt>
                <c:pt idx="412">
                  <c:v>0.0889745316441799</c:v>
                </c:pt>
                <c:pt idx="413">
                  <c:v>0.09721765726798526</c:v>
                </c:pt>
                <c:pt idx="414">
                  <c:v>0.094741896848618</c:v>
                </c:pt>
                <c:pt idx="415">
                  <c:v>0.09729155705228698</c:v>
                </c:pt>
                <c:pt idx="416">
                  <c:v>0.10913963530083715</c:v>
                </c:pt>
                <c:pt idx="417">
                  <c:v>0.12362834660582744</c:v>
                </c:pt>
                <c:pt idx="418">
                  <c:v>0.12339596860060142</c:v>
                </c:pt>
                <c:pt idx="419">
                  <c:v>0.13834731963569236</c:v>
                </c:pt>
                <c:pt idx="420">
                  <c:v>0.1398558612091354</c:v>
                </c:pt>
                <c:pt idx="421">
                  <c:v>0.13130092024751883</c:v>
                </c:pt>
                <c:pt idx="422">
                  <c:v>0.1254217718399704</c:v>
                </c:pt>
                <c:pt idx="423">
                  <c:v>0.11009904539747395</c:v>
                </c:pt>
                <c:pt idx="424">
                  <c:v>0.10123238280736113</c:v>
                </c:pt>
                <c:pt idx="425">
                  <c:v>0.0979824714599411</c:v>
                </c:pt>
                <c:pt idx="426">
                  <c:v>0.10685862509535049</c:v>
                </c:pt>
                <c:pt idx="427">
                  <c:v>0.12545087630622787</c:v>
                </c:pt>
                <c:pt idx="428">
                  <c:v>0.11117934392245954</c:v>
                </c:pt>
                <c:pt idx="429">
                  <c:v>0.11582614142755454</c:v>
                </c:pt>
                <c:pt idx="430">
                  <c:v>0.10529813496934537</c:v>
                </c:pt>
                <c:pt idx="431">
                  <c:v>0.11077999629234214</c:v>
                </c:pt>
                <c:pt idx="432">
                  <c:v>0.10989656721170715</c:v>
                </c:pt>
                <c:pt idx="433">
                  <c:v>0.0910909178024899</c:v>
                </c:pt>
                <c:pt idx="434">
                  <c:v>0.10120404467247646</c:v>
                </c:pt>
                <c:pt idx="435">
                  <c:v>0.09537040878881942</c:v>
                </c:pt>
                <c:pt idx="436">
                  <c:v>0.09030754951035735</c:v>
                </c:pt>
                <c:pt idx="437">
                  <c:v>0.07971777617134435</c:v>
                </c:pt>
                <c:pt idx="438">
                  <c:v>0.07349245696795537</c:v>
                </c:pt>
                <c:pt idx="439">
                  <c:v>0.07833923159829048</c:v>
                </c:pt>
                <c:pt idx="440">
                  <c:v>0.07688582307920755</c:v>
                </c:pt>
                <c:pt idx="441">
                  <c:v>0.08073277048260019</c:v>
                </c:pt>
                <c:pt idx="442">
                  <c:v>0.08493493790431716</c:v>
                </c:pt>
                <c:pt idx="443">
                  <c:v>0.09903506235308845</c:v>
                </c:pt>
                <c:pt idx="444">
                  <c:v>0.09595065514360157</c:v>
                </c:pt>
                <c:pt idx="445">
                  <c:v>0.0810674816651189</c:v>
                </c:pt>
                <c:pt idx="446">
                  <c:v>0.09251448680933838</c:v>
                </c:pt>
                <c:pt idx="447">
                  <c:v>0.08956563984129162</c:v>
                </c:pt>
                <c:pt idx="448">
                  <c:v>0.10159294986458334</c:v>
                </c:pt>
                <c:pt idx="449">
                  <c:v>0.10610075917972428</c:v>
                </c:pt>
                <c:pt idx="450">
                  <c:v>0.10522051696506396</c:v>
                </c:pt>
                <c:pt idx="451">
                  <c:v>0.10937987179996456</c:v>
                </c:pt>
                <c:pt idx="452">
                  <c:v>0.13044102634868837</c:v>
                </c:pt>
                <c:pt idx="453">
                  <c:v>0.15325481281975795</c:v>
                </c:pt>
                <c:pt idx="454">
                  <c:v>0.15453391170162933</c:v>
                </c:pt>
                <c:pt idx="455">
                  <c:v>0.1568104339489369</c:v>
                </c:pt>
                <c:pt idx="456">
                  <c:v>0.16915855415833736</c:v>
                </c:pt>
                <c:pt idx="457">
                  <c:v>0.16029191311911473</c:v>
                </c:pt>
                <c:pt idx="458">
                  <c:v>0.16448540364857944</c:v>
                </c:pt>
                <c:pt idx="459">
                  <c:v>0.1647233114453004</c:v>
                </c:pt>
                <c:pt idx="460">
                  <c:v>0.16872079094506853</c:v>
                </c:pt>
                <c:pt idx="461">
                  <c:v>0.15999394852563165</c:v>
                </c:pt>
                <c:pt idx="462">
                  <c:v>0.1429990034088593</c:v>
                </c:pt>
                <c:pt idx="463">
                  <c:v>0.1210038819468926</c:v>
                </c:pt>
                <c:pt idx="464">
                  <c:v>0.10960871037504094</c:v>
                </c:pt>
                <c:pt idx="465">
                  <c:v>0.10527300842638665</c:v>
                </c:pt>
                <c:pt idx="466">
                  <c:v>0.10269184218348304</c:v>
                </c:pt>
                <c:pt idx="467">
                  <c:v>0.12348165900519481</c:v>
                </c:pt>
                <c:pt idx="468">
                  <c:v>0.1357915767794331</c:v>
                </c:pt>
                <c:pt idx="469">
                  <c:v>0.1259217006216502</c:v>
                </c:pt>
                <c:pt idx="470">
                  <c:v>0.13014754406191886</c:v>
                </c:pt>
                <c:pt idx="471">
                  <c:v>0.12628555500074912</c:v>
                </c:pt>
                <c:pt idx="472">
                  <c:v>0.12374977211058291</c:v>
                </c:pt>
                <c:pt idx="473">
                  <c:v>0.126233926242852</c:v>
                </c:pt>
                <c:pt idx="474">
                  <c:v>0.13336538093149142</c:v>
                </c:pt>
                <c:pt idx="475">
                  <c:v>0.13022260905510685</c:v>
                </c:pt>
                <c:pt idx="476">
                  <c:v>0.14215390525143756</c:v>
                </c:pt>
                <c:pt idx="477">
                  <c:v>0.1302773170656284</c:v>
                </c:pt>
                <c:pt idx="478">
                  <c:v>0.13085400839310335</c:v>
                </c:pt>
                <c:pt idx="479">
                  <c:v>0.15926999528595442</c:v>
                </c:pt>
                <c:pt idx="480">
                  <c:v>0.1622484584795585</c:v>
                </c:pt>
                <c:pt idx="481">
                  <c:v>0.17859610812012305</c:v>
                </c:pt>
                <c:pt idx="482">
                  <c:v>0.1801511969639662</c:v>
                </c:pt>
                <c:pt idx="483">
                  <c:v>0.18719361045271565</c:v>
                </c:pt>
                <c:pt idx="484">
                  <c:v>0.18708742744456042</c:v>
                </c:pt>
                <c:pt idx="485">
                  <c:v>0.18569987416406852</c:v>
                </c:pt>
                <c:pt idx="486">
                  <c:v>0.17745323340019326</c:v>
                </c:pt>
                <c:pt idx="487">
                  <c:v>0.18279635475641332</c:v>
                </c:pt>
                <c:pt idx="488">
                  <c:v>0.1737602598246235</c:v>
                </c:pt>
                <c:pt idx="489">
                  <c:v>0.18171020819069583</c:v>
                </c:pt>
                <c:pt idx="490">
                  <c:v>0.19442567773810104</c:v>
                </c:pt>
                <c:pt idx="491">
                  <c:v>0.19912221727584845</c:v>
                </c:pt>
                <c:pt idx="492">
                  <c:v>0.19640097372092247</c:v>
                </c:pt>
                <c:pt idx="493">
                  <c:v>0.2020990403397438</c:v>
                </c:pt>
                <c:pt idx="494">
                  <c:v>0.1991149568613113</c:v>
                </c:pt>
                <c:pt idx="495">
                  <c:v>0.2103119298263405</c:v>
                </c:pt>
                <c:pt idx="496">
                  <c:v>0.1897991301899824</c:v>
                </c:pt>
                <c:pt idx="497">
                  <c:v>0.18654113892917534</c:v>
                </c:pt>
                <c:pt idx="498">
                  <c:v>0.1646343692868546</c:v>
                </c:pt>
                <c:pt idx="499">
                  <c:v>0.14861706209599101</c:v>
                </c:pt>
                <c:pt idx="500">
                  <c:v>0.1640162163353034</c:v>
                </c:pt>
                <c:pt idx="501">
                  <c:v>0.17443911707118565</c:v>
                </c:pt>
                <c:pt idx="502">
                  <c:v>0.16694025023954073</c:v>
                </c:pt>
                <c:pt idx="503">
                  <c:v>0.1508087216418561</c:v>
                </c:pt>
                <c:pt idx="504">
                  <c:v>0.11891633196619877</c:v>
                </c:pt>
                <c:pt idx="505">
                  <c:v>0.11364264731391072</c:v>
                </c:pt>
                <c:pt idx="506">
                  <c:v>0.13975082163265862</c:v>
                </c:pt>
                <c:pt idx="507">
                  <c:v>0.14497247670669333</c:v>
                </c:pt>
                <c:pt idx="508">
                  <c:v>0.1394011130917936</c:v>
                </c:pt>
                <c:pt idx="509">
                  <c:v>0.14494801622231046</c:v>
                </c:pt>
                <c:pt idx="510">
                  <c:v>0.12848468921777734</c:v>
                </c:pt>
                <c:pt idx="511">
                  <c:v>0.12580502113369074</c:v>
                </c:pt>
                <c:pt idx="512">
                  <c:v>0.12737555966000347</c:v>
                </c:pt>
                <c:pt idx="513">
                  <c:v>0.12696073484177894</c:v>
                </c:pt>
                <c:pt idx="514">
                  <c:v>0.13593433792862109</c:v>
                </c:pt>
                <c:pt idx="515">
                  <c:v>0.14016470467609388</c:v>
                </c:pt>
                <c:pt idx="516">
                  <c:v>0.14791679529530088</c:v>
                </c:pt>
                <c:pt idx="517">
                  <c:v>0.14092651386339372</c:v>
                </c:pt>
                <c:pt idx="518">
                  <c:v>0.15117117413273373</c:v>
                </c:pt>
                <c:pt idx="519">
                  <c:v>0.16950346111764603</c:v>
                </c:pt>
                <c:pt idx="520">
                  <c:v>0.15925110207532645</c:v>
                </c:pt>
                <c:pt idx="521">
                  <c:v>0.14999667448291198</c:v>
                </c:pt>
                <c:pt idx="522">
                  <c:v>0.1651075746600783</c:v>
                </c:pt>
                <c:pt idx="523">
                  <c:v>0.16351397795016687</c:v>
                </c:pt>
                <c:pt idx="524">
                  <c:v>0.17955453445628589</c:v>
                </c:pt>
                <c:pt idx="525">
                  <c:v>0.17512638144338943</c:v>
                </c:pt>
                <c:pt idx="526">
                  <c:v>0.19189888152238188</c:v>
                </c:pt>
                <c:pt idx="527">
                  <c:v>0.19392405509993837</c:v>
                </c:pt>
                <c:pt idx="528">
                  <c:v>0.1973902241616421</c:v>
                </c:pt>
                <c:pt idx="529">
                  <c:v>0.2157280413583269</c:v>
                </c:pt>
                <c:pt idx="530">
                  <c:v>0.21209688109427582</c:v>
                </c:pt>
                <c:pt idx="531">
                  <c:v>0.20180537869737258</c:v>
                </c:pt>
                <c:pt idx="532">
                  <c:v>0.19722486577774023</c:v>
                </c:pt>
                <c:pt idx="533">
                  <c:v>0.20290829877412198</c:v>
                </c:pt>
                <c:pt idx="534">
                  <c:v>0.18555669398140573</c:v>
                </c:pt>
                <c:pt idx="535">
                  <c:v>0.19326989450433296</c:v>
                </c:pt>
                <c:pt idx="536">
                  <c:v>0.18769931982017107</c:v>
                </c:pt>
                <c:pt idx="537">
                  <c:v>0.20118471952021522</c:v>
                </c:pt>
                <c:pt idx="538">
                  <c:v>0.17440373816239685</c:v>
                </c:pt>
                <c:pt idx="539">
                  <c:v>0.166156634871937</c:v>
                </c:pt>
                <c:pt idx="540">
                  <c:v>0.1479978881290418</c:v>
                </c:pt>
                <c:pt idx="541">
                  <c:v>0.1395036451949898</c:v>
                </c:pt>
                <c:pt idx="542">
                  <c:v>0.142697475707817</c:v>
                </c:pt>
                <c:pt idx="543">
                  <c:v>0.14126607235331545</c:v>
                </c:pt>
                <c:pt idx="544">
                  <c:v>0.13903251546798479</c:v>
                </c:pt>
                <c:pt idx="545">
                  <c:v>0.13782257102745699</c:v>
                </c:pt>
                <c:pt idx="546">
                  <c:v>0.14053307862757913</c:v>
                </c:pt>
                <c:pt idx="547">
                  <c:v>0.13011876570313108</c:v>
                </c:pt>
                <c:pt idx="548">
                  <c:v>0.13821614756294753</c:v>
                </c:pt>
                <c:pt idx="549">
                  <c:v>0.1458937873547166</c:v>
                </c:pt>
                <c:pt idx="550">
                  <c:v>0.15060095907525817</c:v>
                </c:pt>
                <c:pt idx="551">
                  <c:v>0.1572020346802192</c:v>
                </c:pt>
                <c:pt idx="552">
                  <c:v>0.16098142297551576</c:v>
                </c:pt>
                <c:pt idx="553">
                  <c:v>0.18394934645506478</c:v>
                </c:pt>
                <c:pt idx="554">
                  <c:v>0.18350253033544162</c:v>
                </c:pt>
                <c:pt idx="555">
                  <c:v>0.18058248569782864</c:v>
                </c:pt>
                <c:pt idx="556">
                  <c:v>0.17266253390972097</c:v>
                </c:pt>
                <c:pt idx="557">
                  <c:v>0.16169052234004821</c:v>
                </c:pt>
                <c:pt idx="558">
                  <c:v>0.14847921780583162</c:v>
                </c:pt>
                <c:pt idx="559">
                  <c:v>0.1392987636445142</c:v>
                </c:pt>
                <c:pt idx="560">
                  <c:v>0.13904645040956787</c:v>
                </c:pt>
                <c:pt idx="561">
                  <c:v>0.14317640926754516</c:v>
                </c:pt>
                <c:pt idx="562">
                  <c:v>0.14424625040286876</c:v>
                </c:pt>
                <c:pt idx="563">
                  <c:v>0.13643953294342426</c:v>
                </c:pt>
                <c:pt idx="564">
                  <c:v>0.1466694813254772</c:v>
                </c:pt>
                <c:pt idx="565">
                  <c:v>0.15524017107368548</c:v>
                </c:pt>
                <c:pt idx="566">
                  <c:v>0.15400792383987927</c:v>
                </c:pt>
                <c:pt idx="567">
                  <c:v>0.14736925856241956</c:v>
                </c:pt>
                <c:pt idx="568">
                  <c:v>0.15386344342929803</c:v>
                </c:pt>
                <c:pt idx="569">
                  <c:v>0.1564431925626808</c:v>
                </c:pt>
                <c:pt idx="570">
                  <c:v>0.1410541613437415</c:v>
                </c:pt>
                <c:pt idx="571">
                  <c:v>0.1408307287535342</c:v>
                </c:pt>
                <c:pt idx="572">
                  <c:v>0.14418401839273254</c:v>
                </c:pt>
                <c:pt idx="573">
                  <c:v>0.13491944543776913</c:v>
                </c:pt>
                <c:pt idx="574">
                  <c:v>0.1374770002903476</c:v>
                </c:pt>
                <c:pt idx="575">
                  <c:v>0.12226800733386156</c:v>
                </c:pt>
                <c:pt idx="576">
                  <c:v>0.13701883760009648</c:v>
                </c:pt>
                <c:pt idx="577">
                  <c:v>0.15101045117027234</c:v>
                </c:pt>
                <c:pt idx="578">
                  <c:v>0.14876723000989722</c:v>
                </c:pt>
                <c:pt idx="579">
                  <c:v>0.15325065737608923</c:v>
                </c:pt>
                <c:pt idx="580">
                  <c:v>0.12736680130471245</c:v>
                </c:pt>
                <c:pt idx="581">
                  <c:v>0.11548965071727912</c:v>
                </c:pt>
                <c:pt idx="582">
                  <c:v>0.11287840128233029</c:v>
                </c:pt>
                <c:pt idx="583">
                  <c:v>0.10204423657585582</c:v>
                </c:pt>
                <c:pt idx="584">
                  <c:v>0.11001947348229035</c:v>
                </c:pt>
                <c:pt idx="585">
                  <c:v>0.13158084365812184</c:v>
                </c:pt>
                <c:pt idx="586">
                  <c:v>0.1194414256074805</c:v>
                </c:pt>
                <c:pt idx="587">
                  <c:v>0.11103900759285312</c:v>
                </c:pt>
                <c:pt idx="588">
                  <c:v>0.1140241022002011</c:v>
                </c:pt>
                <c:pt idx="589">
                  <c:v>0.13157622414448022</c:v>
                </c:pt>
                <c:pt idx="590">
                  <c:v>0.1189449412091319</c:v>
                </c:pt>
                <c:pt idx="591">
                  <c:v>0.12209571467039582</c:v>
                </c:pt>
                <c:pt idx="592">
                  <c:v>0.14201553828049684</c:v>
                </c:pt>
                <c:pt idx="593">
                  <c:v>0.12460926645190518</c:v>
                </c:pt>
                <c:pt idx="594">
                  <c:v>0.11142866876245083</c:v>
                </c:pt>
                <c:pt idx="595">
                  <c:v>0.10745613065976523</c:v>
                </c:pt>
                <c:pt idx="596">
                  <c:v>0.10247746203957409</c:v>
                </c:pt>
                <c:pt idx="597">
                  <c:v>0.1114843856485328</c:v>
                </c:pt>
                <c:pt idx="598">
                  <c:v>0.11453626317167487</c:v>
                </c:pt>
                <c:pt idx="599">
                  <c:v>0.09624433846846414</c:v>
                </c:pt>
                <c:pt idx="600">
                  <c:v>0.10210529791436862</c:v>
                </c:pt>
                <c:pt idx="601">
                  <c:v>0.09655441295712097</c:v>
                </c:pt>
                <c:pt idx="602">
                  <c:v>0.11032411928122099</c:v>
                </c:pt>
                <c:pt idx="603">
                  <c:v>0.1042039221375688</c:v>
                </c:pt>
                <c:pt idx="604">
                  <c:v>0.09802275952383566</c:v>
                </c:pt>
                <c:pt idx="605">
                  <c:v>0.1041615305989525</c:v>
                </c:pt>
                <c:pt idx="606">
                  <c:v>0.11266114697620266</c:v>
                </c:pt>
                <c:pt idx="607">
                  <c:v>0.11789838063858937</c:v>
                </c:pt>
                <c:pt idx="608">
                  <c:v>0.10050033305050099</c:v>
                </c:pt>
                <c:pt idx="609">
                  <c:v>0.10662057546354387</c:v>
                </c:pt>
                <c:pt idx="610">
                  <c:v>0.09624498229467249</c:v>
                </c:pt>
                <c:pt idx="611">
                  <c:v>0.09918853497613833</c:v>
                </c:pt>
                <c:pt idx="612">
                  <c:v>0.08481612041858444</c:v>
                </c:pt>
                <c:pt idx="613">
                  <c:v>0.08990397354804114</c:v>
                </c:pt>
                <c:pt idx="614">
                  <c:v>0.08204283450292871</c:v>
                </c:pt>
                <c:pt idx="615">
                  <c:v>0.06934503026875927</c:v>
                </c:pt>
                <c:pt idx="616">
                  <c:v>0.07707777567918583</c:v>
                </c:pt>
                <c:pt idx="617">
                  <c:v>0.08003502514541183</c:v>
                </c:pt>
                <c:pt idx="618">
                  <c:v>0.07422143463048192</c:v>
                </c:pt>
                <c:pt idx="619">
                  <c:v>0.08951426481452329</c:v>
                </c:pt>
                <c:pt idx="620">
                  <c:v>0.08544362379199955</c:v>
                </c:pt>
                <c:pt idx="621">
                  <c:v>0.08626315858757794</c:v>
                </c:pt>
                <c:pt idx="622">
                  <c:v>0.08952702933403156</c:v>
                </c:pt>
                <c:pt idx="623">
                  <c:v>0.08360346004552066</c:v>
                </c:pt>
                <c:pt idx="624">
                  <c:v>0.08894106832051252</c:v>
                </c:pt>
                <c:pt idx="625">
                  <c:v>0.0839125591974701</c:v>
                </c:pt>
                <c:pt idx="626">
                  <c:v>0.0801616103497862</c:v>
                </c:pt>
                <c:pt idx="627">
                  <c:v>0.09463048862178569</c:v>
                </c:pt>
                <c:pt idx="628">
                  <c:v>0.08430202876007598</c:v>
                </c:pt>
                <c:pt idx="629">
                  <c:v>0.05993622989911507</c:v>
                </c:pt>
                <c:pt idx="630">
                  <c:v>0.07663436081099961</c:v>
                </c:pt>
                <c:pt idx="631">
                  <c:v>0.103193439945515</c:v>
                </c:pt>
                <c:pt idx="632">
                  <c:v>0.09944251824046568</c:v>
                </c:pt>
                <c:pt idx="633">
                  <c:v>0.07970756749204155</c:v>
                </c:pt>
                <c:pt idx="634">
                  <c:v>0.07700873285991716</c:v>
                </c:pt>
                <c:pt idx="635">
                  <c:v>0.07456487293273262</c:v>
                </c:pt>
                <c:pt idx="636">
                  <c:v>0.0731096149886501</c:v>
                </c:pt>
                <c:pt idx="637">
                  <c:v>0.06224203389189764</c:v>
                </c:pt>
                <c:pt idx="638">
                  <c:v>0.06856856777126374</c:v>
                </c:pt>
                <c:pt idx="639">
                  <c:v>0.07437390852731252</c:v>
                </c:pt>
                <c:pt idx="640">
                  <c:v>0.05960464792259046</c:v>
                </c:pt>
                <c:pt idx="641">
                  <c:v>0.06711975502795942</c:v>
                </c:pt>
                <c:pt idx="642">
                  <c:v>0.08840933552101671</c:v>
                </c:pt>
                <c:pt idx="643">
                  <c:v>0.09067717041805734</c:v>
                </c:pt>
                <c:pt idx="644">
                  <c:v>0.08767280303862646</c:v>
                </c:pt>
                <c:pt idx="645">
                  <c:v>0.08669495197457033</c:v>
                </c:pt>
                <c:pt idx="646">
                  <c:v>0.09353563071987181</c:v>
                </c:pt>
                <c:pt idx="647">
                  <c:v>0.0760484866295712</c:v>
                </c:pt>
                <c:pt idx="648">
                  <c:v>0.07821318593652404</c:v>
                </c:pt>
                <c:pt idx="649">
                  <c:v>0.07469884977023056</c:v>
                </c:pt>
                <c:pt idx="650">
                  <c:v>0.09404809070463216</c:v>
                </c:pt>
                <c:pt idx="651">
                  <c:v>0.09273015555016406</c:v>
                </c:pt>
                <c:pt idx="652">
                  <c:v>0.11053611946318043</c:v>
                </c:pt>
                <c:pt idx="653">
                  <c:v>0.0993912935585588</c:v>
                </c:pt>
                <c:pt idx="654">
                  <c:v>0.10601948198359201</c:v>
                </c:pt>
                <c:pt idx="655">
                  <c:v>0.10987318843637062</c:v>
                </c:pt>
                <c:pt idx="656">
                  <c:v>0.1012095750922164</c:v>
                </c:pt>
                <c:pt idx="657">
                  <c:v>0.10356094725122023</c:v>
                </c:pt>
                <c:pt idx="658">
                  <c:v>0.11676938982075469</c:v>
                </c:pt>
                <c:pt idx="659">
                  <c:v>0.1138367297379348</c:v>
                </c:pt>
                <c:pt idx="660">
                  <c:v>0.09643453989841211</c:v>
                </c:pt>
                <c:pt idx="661">
                  <c:v>0.09674499879046916</c:v>
                </c:pt>
                <c:pt idx="662">
                  <c:v>0.08783611788786128</c:v>
                </c:pt>
                <c:pt idx="663">
                  <c:v>0.08478774118266386</c:v>
                </c:pt>
                <c:pt idx="664">
                  <c:v>0.0844350942485399</c:v>
                </c:pt>
                <c:pt idx="665">
                  <c:v>0.06735123338546667</c:v>
                </c:pt>
                <c:pt idx="666">
                  <c:v>0.05144902968905751</c:v>
                </c:pt>
                <c:pt idx="667">
                  <c:v>0.056737434463774106</c:v>
                </c:pt>
                <c:pt idx="668">
                  <c:v>0.0519653903768853</c:v>
                </c:pt>
                <c:pt idx="669">
                  <c:v>0.026807563116333144</c:v>
                </c:pt>
                <c:pt idx="670">
                  <c:v>0.03492552254996717</c:v>
                </c:pt>
                <c:pt idx="671">
                  <c:v>0.03806912194250267</c:v>
                </c:pt>
                <c:pt idx="672">
                  <c:v>0.031496264635614946</c:v>
                </c:pt>
                <c:pt idx="673">
                  <c:v>0.019056536237974875</c:v>
                </c:pt>
                <c:pt idx="674">
                  <c:v>0.027606598927177206</c:v>
                </c:pt>
                <c:pt idx="675">
                  <c:v>0.03147947444497734</c:v>
                </c:pt>
                <c:pt idx="676">
                  <c:v>0.05529089103684415</c:v>
                </c:pt>
                <c:pt idx="677">
                  <c:v>0.059978273344954314</c:v>
                </c:pt>
                <c:pt idx="678">
                  <c:v>0.06435935417729022</c:v>
                </c:pt>
                <c:pt idx="679">
                  <c:v>0.0631504384997672</c:v>
                </c:pt>
                <c:pt idx="680">
                  <c:v>0.07187823460011211</c:v>
                </c:pt>
                <c:pt idx="681">
                  <c:v>0.07872572441457337</c:v>
                </c:pt>
                <c:pt idx="682">
                  <c:v>0.0920386966735669</c:v>
                </c:pt>
                <c:pt idx="683">
                  <c:v>0.08712171848123029</c:v>
                </c:pt>
                <c:pt idx="684">
                  <c:v>0.08311418451239594</c:v>
                </c:pt>
                <c:pt idx="685">
                  <c:v>0.07867181321296002</c:v>
                </c:pt>
                <c:pt idx="686">
                  <c:v>0.08726086303042835</c:v>
                </c:pt>
                <c:pt idx="687">
                  <c:v>0.1032268073462399</c:v>
                </c:pt>
                <c:pt idx="688">
                  <c:v>0.0989143106523318</c:v>
                </c:pt>
                <c:pt idx="689">
                  <c:v>0.09497431777364618</c:v>
                </c:pt>
                <c:pt idx="690">
                  <c:v>0.09873416790902767</c:v>
                </c:pt>
                <c:pt idx="691">
                  <c:v>0.09666334599098936</c:v>
                </c:pt>
                <c:pt idx="692">
                  <c:v>0.1070756267724311</c:v>
                </c:pt>
                <c:pt idx="693">
                  <c:v>0.08389137712852057</c:v>
                </c:pt>
                <c:pt idx="694">
                  <c:v>0.07586657276630082</c:v>
                </c:pt>
                <c:pt idx="695">
                  <c:v>0.06835384471693873</c:v>
                </c:pt>
                <c:pt idx="696">
                  <c:v>0.045284471911085644</c:v>
                </c:pt>
                <c:pt idx="697">
                  <c:v>0.03618572505031059</c:v>
                </c:pt>
                <c:pt idx="698">
                  <c:v>0.027643427443978963</c:v>
                </c:pt>
                <c:pt idx="699">
                  <c:v>0.02614256016010441</c:v>
                </c:pt>
                <c:pt idx="700">
                  <c:v>0.03745391017184807</c:v>
                </c:pt>
                <c:pt idx="701">
                  <c:v>0.035505492688758356</c:v>
                </c:pt>
                <c:pt idx="702">
                  <c:v>0.025831044102311074</c:v>
                </c:pt>
                <c:pt idx="703">
                  <c:v>0.025737623575602386</c:v>
                </c:pt>
                <c:pt idx="704">
                  <c:v>0.036422885649378234</c:v>
                </c:pt>
                <c:pt idx="705">
                  <c:v>0.02727996844942937</c:v>
                </c:pt>
                <c:pt idx="706">
                  <c:v>0.018855798723987904</c:v>
                </c:pt>
                <c:pt idx="707">
                  <c:v>0.024720551870677676</c:v>
                </c:pt>
                <c:pt idx="708">
                  <c:v>0.023025056316695602</c:v>
                </c:pt>
                <c:pt idx="709">
                  <c:v>0.02977815168272202</c:v>
                </c:pt>
                <c:pt idx="710">
                  <c:v>0.03010804675468126</c:v>
                </c:pt>
                <c:pt idx="711">
                  <c:v>0.037438094390837895</c:v>
                </c:pt>
                <c:pt idx="712">
                  <c:v>0.027703561604641935</c:v>
                </c:pt>
                <c:pt idx="713">
                  <c:v>0.02804804354013357</c:v>
                </c:pt>
                <c:pt idx="714">
                  <c:v>0.026452970317661695</c:v>
                </c:pt>
                <c:pt idx="715">
                  <c:v>0.015058353073329256</c:v>
                </c:pt>
                <c:pt idx="716">
                  <c:v>0.00043842649932668287</c:v>
                </c:pt>
                <c:pt idx="717">
                  <c:v>0.007406095806575808</c:v>
                </c:pt>
                <c:pt idx="718">
                  <c:v>0.004500688642438577</c:v>
                </c:pt>
                <c:pt idx="719">
                  <c:v>-0.004802657893225537</c:v>
                </c:pt>
                <c:pt idx="720">
                  <c:v>-0.005264130802008715</c:v>
                </c:pt>
                <c:pt idx="721">
                  <c:v>0.005843268115232725</c:v>
                </c:pt>
                <c:pt idx="722">
                  <c:v>-0.015497718091093904</c:v>
                </c:pt>
                <c:pt idx="723">
                  <c:v>-0.02905241201556319</c:v>
                </c:pt>
                <c:pt idx="724">
                  <c:v>-0.03712819206601681</c:v>
                </c:pt>
                <c:pt idx="725">
                  <c:v>-0.023329084349864138</c:v>
                </c:pt>
                <c:pt idx="726">
                  <c:v>-0.020267634807914936</c:v>
                </c:pt>
                <c:pt idx="727">
                  <c:v>-0.01268498266250595</c:v>
                </c:pt>
                <c:pt idx="728">
                  <c:v>-0.02293482188223328</c:v>
                </c:pt>
                <c:pt idx="729">
                  <c:v>-0.032886807986194255</c:v>
                </c:pt>
                <c:pt idx="730">
                  <c:v>-0.028337284796218887</c:v>
                </c:pt>
                <c:pt idx="731">
                  <c:v>-0.02736211812545475</c:v>
                </c:pt>
                <c:pt idx="732">
                  <c:v>-0.02185405153502884</c:v>
                </c:pt>
                <c:pt idx="733">
                  <c:v>-0.023157797242719824</c:v>
                </c:pt>
                <c:pt idx="734">
                  <c:v>-0.020137044212365174</c:v>
                </c:pt>
                <c:pt idx="735">
                  <c:v>-0.018224223060196</c:v>
                </c:pt>
                <c:pt idx="736">
                  <c:v>-0.010528288724948709</c:v>
                </c:pt>
                <c:pt idx="737">
                  <c:v>-0.0024971637302619865</c:v>
                </c:pt>
                <c:pt idx="738">
                  <c:v>-0.01739864308753769</c:v>
                </c:pt>
                <c:pt idx="739">
                  <c:v>-0.037934079229261064</c:v>
                </c:pt>
                <c:pt idx="740">
                  <c:v>-0.02834557103540447</c:v>
                </c:pt>
                <c:pt idx="741">
                  <c:v>-0.016944772243397077</c:v>
                </c:pt>
                <c:pt idx="742">
                  <c:v>-0.026034020942469094</c:v>
                </c:pt>
                <c:pt idx="743">
                  <c:v>-0.04280419217180287</c:v>
                </c:pt>
                <c:pt idx="744">
                  <c:v>-0.04147289476105753</c:v>
                </c:pt>
                <c:pt idx="745">
                  <c:v>-0.03256533769347958</c:v>
                </c:pt>
                <c:pt idx="746">
                  <c:v>-0.015608967222576431</c:v>
                </c:pt>
                <c:pt idx="747">
                  <c:v>-0.01033772360572316</c:v>
                </c:pt>
                <c:pt idx="748">
                  <c:v>-0.013387178506454878</c:v>
                </c:pt>
                <c:pt idx="749">
                  <c:v>-0.021314356900762</c:v>
                </c:pt>
                <c:pt idx="750">
                  <c:v>-0.02076747982121374</c:v>
                </c:pt>
                <c:pt idx="751">
                  <c:v>-0.023110797623901336</c:v>
                </c:pt>
                <c:pt idx="752">
                  <c:v>-0.0320914818122896</c:v>
                </c:pt>
                <c:pt idx="753">
                  <c:v>-0.012817346540625163</c:v>
                </c:pt>
                <c:pt idx="754">
                  <c:v>0.004368614813710758</c:v>
                </c:pt>
                <c:pt idx="755">
                  <c:v>0.015660191295680415</c:v>
                </c:pt>
                <c:pt idx="756">
                  <c:v>0.007232163015424842</c:v>
                </c:pt>
                <c:pt idx="757">
                  <c:v>0.015866845641385297</c:v>
                </c:pt>
                <c:pt idx="758">
                  <c:v>0.022496850720476802</c:v>
                </c:pt>
                <c:pt idx="759">
                  <c:v>0.027255738620264314</c:v>
                </c:pt>
                <c:pt idx="760">
                  <c:v>0.03991339896343238</c:v>
                </c:pt>
                <c:pt idx="761">
                  <c:v>0.04665830415833949</c:v>
                </c:pt>
                <c:pt idx="762">
                  <c:v>0.054487449828632295</c:v>
                </c:pt>
                <c:pt idx="763">
                  <c:v>0.06134226116511865</c:v>
                </c:pt>
                <c:pt idx="764">
                  <c:v>0.06525598025641166</c:v>
                </c:pt>
                <c:pt idx="765">
                  <c:v>0.04768532243491763</c:v>
                </c:pt>
                <c:pt idx="766">
                  <c:v>0.04898906229678124</c:v>
                </c:pt>
                <c:pt idx="767">
                  <c:v>0.04391843420179842</c:v>
                </c:pt>
                <c:pt idx="768">
                  <c:v>0.03169572659618369</c:v>
                </c:pt>
                <c:pt idx="769">
                  <c:v>0.0486436583541372</c:v>
                </c:pt>
                <c:pt idx="770">
                  <c:v>0.06633999799606105</c:v>
                </c:pt>
                <c:pt idx="771">
                  <c:v>0.08058906827101575</c:v>
                </c:pt>
                <c:pt idx="772">
                  <c:v>0.08369525122087773</c:v>
                </c:pt>
                <c:pt idx="773">
                  <c:v>0.09808774136660947</c:v>
                </c:pt>
                <c:pt idx="774">
                  <c:v>0.0987076176239261</c:v>
                </c:pt>
                <c:pt idx="775">
                  <c:v>0.10131877772498599</c:v>
                </c:pt>
                <c:pt idx="776">
                  <c:v>0.09037389591961476</c:v>
                </c:pt>
                <c:pt idx="777">
                  <c:v>0.09497681924843837</c:v>
                </c:pt>
                <c:pt idx="778">
                  <c:v>0.09609771013951862</c:v>
                </c:pt>
                <c:pt idx="779">
                  <c:v>0.08302653108656033</c:v>
                </c:pt>
                <c:pt idx="780">
                  <c:v>0.08298713863663165</c:v>
                </c:pt>
                <c:pt idx="781">
                  <c:v>0.08265419497287096</c:v>
                </c:pt>
                <c:pt idx="782">
                  <c:v>0.10162969216959605</c:v>
                </c:pt>
                <c:pt idx="783">
                  <c:v>0.11148379909240225</c:v>
                </c:pt>
                <c:pt idx="784">
                  <c:v>0.1121048202931687</c:v>
                </c:pt>
                <c:pt idx="785">
                  <c:v>0.1152337043436471</c:v>
                </c:pt>
                <c:pt idx="786">
                  <c:v>0.11620397728560605</c:v>
                </c:pt>
                <c:pt idx="787">
                  <c:v>0.11455458180506572</c:v>
                </c:pt>
                <c:pt idx="788">
                  <c:v>0.10359510153984242</c:v>
                </c:pt>
                <c:pt idx="789">
                  <c:v>0.10250806826958403</c:v>
                </c:pt>
                <c:pt idx="790">
                  <c:v>0.0951896930973335</c:v>
                </c:pt>
                <c:pt idx="791">
                  <c:v>0.08267386789142073</c:v>
                </c:pt>
                <c:pt idx="792">
                  <c:v>0.0884191928753848</c:v>
                </c:pt>
                <c:pt idx="793">
                  <c:v>0.09295465118314805</c:v>
                </c:pt>
                <c:pt idx="794">
                  <c:v>0.0748949730700712</c:v>
                </c:pt>
                <c:pt idx="795">
                  <c:v>0.07412588135684661</c:v>
                </c:pt>
                <c:pt idx="796">
                  <c:v>0.08476956997608798</c:v>
                </c:pt>
                <c:pt idx="797">
                  <c:v>0.09617334624021212</c:v>
                </c:pt>
                <c:pt idx="798">
                  <c:v>0.10734932679125908</c:v>
                </c:pt>
                <c:pt idx="799">
                  <c:v>0.10825699386623855</c:v>
                </c:pt>
                <c:pt idx="800">
                  <c:v>0.09985869926234825</c:v>
                </c:pt>
                <c:pt idx="801">
                  <c:v>0.08903043764183982</c:v>
                </c:pt>
                <c:pt idx="802">
                  <c:v>0.09308571102599972</c:v>
                </c:pt>
                <c:pt idx="803">
                  <c:v>0.09751616266336072</c:v>
                </c:pt>
                <c:pt idx="804">
                  <c:v>0.11143227860257565</c:v>
                </c:pt>
                <c:pt idx="805">
                  <c:v>0.12354667557531052</c:v>
                </c:pt>
                <c:pt idx="806">
                  <c:v>0.12264090343843614</c:v>
                </c:pt>
                <c:pt idx="807">
                  <c:v>0.10987652593185948</c:v>
                </c:pt>
                <c:pt idx="808">
                  <c:v>0.10701136561625102</c:v>
                </c:pt>
                <c:pt idx="809">
                  <c:v>0.10979405604618409</c:v>
                </c:pt>
                <c:pt idx="810">
                  <c:v>0.10816289091808806</c:v>
                </c:pt>
                <c:pt idx="811">
                  <c:v>0.10257775656720836</c:v>
                </c:pt>
                <c:pt idx="812">
                  <c:v>0.10572275569127831</c:v>
                </c:pt>
                <c:pt idx="813">
                  <c:v>0.10092657427678664</c:v>
                </c:pt>
                <c:pt idx="814">
                  <c:v>0.09485317213644673</c:v>
                </c:pt>
                <c:pt idx="815">
                  <c:v>0.09858530973818413</c:v>
                </c:pt>
                <c:pt idx="816">
                  <c:v>0.09488425326760597</c:v>
                </c:pt>
                <c:pt idx="817">
                  <c:v>0.09791597867221258</c:v>
                </c:pt>
                <c:pt idx="818">
                  <c:v>0.10125961395282057</c:v>
                </c:pt>
                <c:pt idx="819">
                  <c:v>0.08983451293134626</c:v>
                </c:pt>
                <c:pt idx="820">
                  <c:v>0.08534244319677664</c:v>
                </c:pt>
                <c:pt idx="821">
                  <c:v>0.10065541049525417</c:v>
                </c:pt>
                <c:pt idx="822">
                  <c:v>0.0889997389503685</c:v>
                </c:pt>
                <c:pt idx="823">
                  <c:v>0.06759194548031422</c:v>
                </c:pt>
                <c:pt idx="824">
                  <c:v>0.0491892984071145</c:v>
                </c:pt>
                <c:pt idx="825">
                  <c:v>0.04995158111343945</c:v>
                </c:pt>
                <c:pt idx="826">
                  <c:v>0.05073244495200502</c:v>
                </c:pt>
                <c:pt idx="827">
                  <c:v>0.050031287906333155</c:v>
                </c:pt>
                <c:pt idx="828">
                  <c:v>0.06261570642930026</c:v>
                </c:pt>
                <c:pt idx="829">
                  <c:v>0.03611202292884097</c:v>
                </c:pt>
                <c:pt idx="830">
                  <c:v>0.04047547589119338</c:v>
                </c:pt>
                <c:pt idx="831">
                  <c:v>0.056377752338258924</c:v>
                </c:pt>
                <c:pt idx="832">
                  <c:v>0.04553517848611821</c:v>
                </c:pt>
                <c:pt idx="833">
                  <c:v>0.04223320916003992</c:v>
                </c:pt>
                <c:pt idx="834">
                  <c:v>0.035247668993245496</c:v>
                </c:pt>
                <c:pt idx="835">
                  <c:v>0.026917768679278975</c:v>
                </c:pt>
                <c:pt idx="836">
                  <c:v>0.024196961298255326</c:v>
                </c:pt>
                <c:pt idx="837">
                  <c:v>0.03854709778439225</c:v>
                </c:pt>
                <c:pt idx="838">
                  <c:v>0.05714246367208031</c:v>
                </c:pt>
                <c:pt idx="839">
                  <c:v>0.054244389390704084</c:v>
                </c:pt>
                <c:pt idx="840">
                  <c:v>0.07379859026615465</c:v>
                </c:pt>
                <c:pt idx="841">
                  <c:v>0.074644718354685</c:v>
                </c:pt>
                <c:pt idx="842">
                  <c:v>0.09303195907291273</c:v>
                </c:pt>
                <c:pt idx="843">
                  <c:v>0.0925550285993042</c:v>
                </c:pt>
                <c:pt idx="844">
                  <c:v>0.0944069632875717</c:v>
                </c:pt>
                <c:pt idx="845">
                  <c:v>0.09869923559481086</c:v>
                </c:pt>
                <c:pt idx="846">
                  <c:v>0.13237338927292264</c:v>
                </c:pt>
                <c:pt idx="847">
                  <c:v>0.1420407020485439</c:v>
                </c:pt>
                <c:pt idx="848">
                  <c:v>0.13488123400142782</c:v>
                </c:pt>
                <c:pt idx="849">
                  <c:v>0.145839056794981</c:v>
                </c:pt>
                <c:pt idx="850">
                  <c:v>0.14241596676693935</c:v>
                </c:pt>
                <c:pt idx="851">
                  <c:v>0.1376148188795876</c:v>
                </c:pt>
                <c:pt idx="852">
                  <c:v>0.14794631007702375</c:v>
                </c:pt>
                <c:pt idx="853">
                  <c:v>0.148801889481454</c:v>
                </c:pt>
                <c:pt idx="854">
                  <c:v>0.15235912143279484</c:v>
                </c:pt>
                <c:pt idx="855">
                  <c:v>0.15303078501826595</c:v>
                </c:pt>
                <c:pt idx="856">
                  <c:v>0.157236510585115</c:v>
                </c:pt>
                <c:pt idx="857">
                  <c:v>0.16242923451141178</c:v>
                </c:pt>
                <c:pt idx="858">
                  <c:v>0.14156225127278432</c:v>
                </c:pt>
                <c:pt idx="859">
                  <c:v>0.14930482914989796</c:v>
                </c:pt>
                <c:pt idx="860">
                  <c:v>0.13909993953848088</c:v>
                </c:pt>
                <c:pt idx="861">
                  <c:v>0.12400476735920796</c:v>
                </c:pt>
                <c:pt idx="862">
                  <c:v>0.12388685159715651</c:v>
                </c:pt>
                <c:pt idx="863">
                  <c:v>0.12528925956176096</c:v>
                </c:pt>
                <c:pt idx="864">
                  <c:v>0.11838188686344986</c:v>
                </c:pt>
                <c:pt idx="865">
                  <c:v>0.12771456299425066</c:v>
                </c:pt>
                <c:pt idx="866">
                  <c:v>0.11384292497614368</c:v>
                </c:pt>
                <c:pt idx="867">
                  <c:v>0.11003807584576397</c:v>
                </c:pt>
                <c:pt idx="868">
                  <c:v>0.10436988366604116</c:v>
                </c:pt>
                <c:pt idx="869">
                  <c:v>0.1043780791196034</c:v>
                </c:pt>
                <c:pt idx="870">
                  <c:v>0.10780077948383826</c:v>
                </c:pt>
                <c:pt idx="871">
                  <c:v>0.09769211617992823</c:v>
                </c:pt>
                <c:pt idx="872">
                  <c:v>0.10573895178903836</c:v>
                </c:pt>
                <c:pt idx="873">
                  <c:v>0.10689834395820852</c:v>
                </c:pt>
                <c:pt idx="874">
                  <c:v>0.08750162255382521</c:v>
                </c:pt>
                <c:pt idx="875">
                  <c:v>0.0677562702751322</c:v>
                </c:pt>
                <c:pt idx="876">
                  <c:v>0.06811179757518526</c:v>
                </c:pt>
                <c:pt idx="877">
                  <c:v>0.0663502787935355</c:v>
                </c:pt>
                <c:pt idx="878">
                  <c:v>0.06578245678303274</c:v>
                </c:pt>
                <c:pt idx="879">
                  <c:v>0.06597873838154289</c:v>
                </c:pt>
                <c:pt idx="880">
                  <c:v>0.06874262774874529</c:v>
                </c:pt>
                <c:pt idx="881">
                  <c:v>0.07884510050626847</c:v>
                </c:pt>
                <c:pt idx="882">
                  <c:v>0.06794283505571386</c:v>
                </c:pt>
                <c:pt idx="883">
                  <c:v>0.056533222008980255</c:v>
                </c:pt>
                <c:pt idx="884">
                  <c:v>0.046034898665290314</c:v>
                </c:pt>
                <c:pt idx="885">
                  <c:v>0.04937667507800292</c:v>
                </c:pt>
                <c:pt idx="886">
                  <c:v>0.06225987261987331</c:v>
                </c:pt>
                <c:pt idx="887">
                  <c:v>0.0583850410837099</c:v>
                </c:pt>
                <c:pt idx="888">
                  <c:v>0.0337075782749674</c:v>
                </c:pt>
                <c:pt idx="889">
                  <c:v>0.017439158498826712</c:v>
                </c:pt>
                <c:pt idx="890">
                  <c:v>0.00984514638886913</c:v>
                </c:pt>
                <c:pt idx="891">
                  <c:v>0.004948988509383856</c:v>
                </c:pt>
                <c:pt idx="892">
                  <c:v>0.001502323044368481</c:v>
                </c:pt>
                <c:pt idx="893">
                  <c:v>0.0023200703905030817</c:v>
                </c:pt>
                <c:pt idx="894">
                  <c:v>-0.0001973468182334681</c:v>
                </c:pt>
                <c:pt idx="895">
                  <c:v>0.010219323379443424</c:v>
                </c:pt>
                <c:pt idx="896">
                  <c:v>0.004186127496151215</c:v>
                </c:pt>
                <c:pt idx="897">
                  <c:v>-0.003588302204238669</c:v>
                </c:pt>
                <c:pt idx="898">
                  <c:v>0.0013930763492846499</c:v>
                </c:pt>
                <c:pt idx="899">
                  <c:v>-0.012765219463817812</c:v>
                </c:pt>
                <c:pt idx="900">
                  <c:v>-0.00866615036338203</c:v>
                </c:pt>
                <c:pt idx="901">
                  <c:v>-0.0072542379280948754</c:v>
                </c:pt>
                <c:pt idx="902">
                  <c:v>-0.008198044951810646</c:v>
                </c:pt>
                <c:pt idx="903">
                  <c:v>0.007213191736117119</c:v>
                </c:pt>
                <c:pt idx="904">
                  <c:v>0.001712829976874275</c:v>
                </c:pt>
                <c:pt idx="905">
                  <c:v>0.021769958304786563</c:v>
                </c:pt>
                <c:pt idx="906">
                  <c:v>0.02004153350247906</c:v>
                </c:pt>
                <c:pt idx="907">
                  <c:v>0.008125758970619623</c:v>
                </c:pt>
                <c:pt idx="908">
                  <c:v>0.009249049003400955</c:v>
                </c:pt>
                <c:pt idx="909">
                  <c:v>-0.0006156836512511976</c:v>
                </c:pt>
                <c:pt idx="910">
                  <c:v>-0.007303244247162888</c:v>
                </c:pt>
                <c:pt idx="911">
                  <c:v>-0.0031122608529876583</c:v>
                </c:pt>
                <c:pt idx="912">
                  <c:v>0.0025979418661459253</c:v>
                </c:pt>
                <c:pt idx="913">
                  <c:v>-0.002876837589834147</c:v>
                </c:pt>
                <c:pt idx="914">
                  <c:v>0.006925230970933338</c:v>
                </c:pt>
                <c:pt idx="915">
                  <c:v>0.0184508231075331</c:v>
                </c:pt>
                <c:pt idx="916">
                  <c:v>0.03280575168685673</c:v>
                </c:pt>
                <c:pt idx="917">
                  <c:v>0.0384649357881619</c:v>
                </c:pt>
                <c:pt idx="918">
                  <c:v>0.052383037653770614</c:v>
                </c:pt>
                <c:pt idx="919">
                  <c:v>0.03405306657368001</c:v>
                </c:pt>
                <c:pt idx="920">
                  <c:v>0.03139543415945378</c:v>
                </c:pt>
                <c:pt idx="921">
                  <c:v>0.023364422108565375</c:v>
                </c:pt>
                <c:pt idx="922">
                  <c:v>0.02498404539100796</c:v>
                </c:pt>
                <c:pt idx="923">
                  <c:v>0.01988088805336985</c:v>
                </c:pt>
                <c:pt idx="924">
                  <c:v>0.018729952982649012</c:v>
                </c:pt>
                <c:pt idx="925">
                  <c:v>0.037403946770037555</c:v>
                </c:pt>
                <c:pt idx="926">
                  <c:v>0.03619813267289462</c:v>
                </c:pt>
                <c:pt idx="927">
                  <c:v>0.04073774468327285</c:v>
                </c:pt>
                <c:pt idx="928">
                  <c:v>0.03890962781182816</c:v>
                </c:pt>
                <c:pt idx="929">
                  <c:v>0.04012440015055385</c:v>
                </c:pt>
                <c:pt idx="930">
                  <c:v>0.04065190804385188</c:v>
                </c:pt>
                <c:pt idx="931">
                  <c:v>0.04555241970190238</c:v>
                </c:pt>
                <c:pt idx="932">
                  <c:v>0.057597624368906475</c:v>
                </c:pt>
                <c:pt idx="933">
                  <c:v>0.07462520309338894</c:v>
                </c:pt>
                <c:pt idx="934">
                  <c:v>0.07826967709711363</c:v>
                </c:pt>
                <c:pt idx="935">
                  <c:v>0.08479395849098004</c:v>
                </c:pt>
                <c:pt idx="936">
                  <c:v>0.07342183253954215</c:v>
                </c:pt>
                <c:pt idx="937">
                  <c:v>0.07300874863231188</c:v>
                </c:pt>
                <c:pt idx="938">
                  <c:v>0.08307652137883181</c:v>
                </c:pt>
                <c:pt idx="939">
                  <c:v>0.09247405366839256</c:v>
                </c:pt>
                <c:pt idx="940">
                  <c:v>0.09516185934707488</c:v>
                </c:pt>
                <c:pt idx="941">
                  <c:v>0.1048767583240886</c:v>
                </c:pt>
                <c:pt idx="942">
                  <c:v>0.11052520180533598</c:v>
                </c:pt>
                <c:pt idx="943">
                  <c:v>0.12368815646812403</c:v>
                </c:pt>
                <c:pt idx="944">
                  <c:v>0.12728273598609863</c:v>
                </c:pt>
                <c:pt idx="945">
                  <c:v>0.12398077379884787</c:v>
                </c:pt>
                <c:pt idx="946">
                  <c:v>0.12807261674754833</c:v>
                </c:pt>
                <c:pt idx="947">
                  <c:v>0.09717397839624264</c:v>
                </c:pt>
                <c:pt idx="948">
                  <c:v>0.10165858321979826</c:v>
                </c:pt>
                <c:pt idx="949">
                  <c:v>0.06397092919399028</c:v>
                </c:pt>
                <c:pt idx="950">
                  <c:v>0.04702942396354226</c:v>
                </c:pt>
                <c:pt idx="951">
                  <c:v>0.05199422987540214</c:v>
                </c:pt>
                <c:pt idx="952">
                  <c:v>0.057240029299154616</c:v>
                </c:pt>
                <c:pt idx="953">
                  <c:v>0.046040608055392784</c:v>
                </c:pt>
                <c:pt idx="954">
                  <c:v>0.03943489362661445</c:v>
                </c:pt>
                <c:pt idx="955">
                  <c:v>0.05343622653250146</c:v>
                </c:pt>
                <c:pt idx="956">
                  <c:v>0.04906627151878751</c:v>
                </c:pt>
                <c:pt idx="957">
                  <c:v>0.07189158581071142</c:v>
                </c:pt>
                <c:pt idx="958">
                  <c:v>0.0723543872169019</c:v>
                </c:pt>
                <c:pt idx="959">
                  <c:v>0.07699376084315701</c:v>
                </c:pt>
                <c:pt idx="960">
                  <c:v>0.09402136260841165</c:v>
                </c:pt>
                <c:pt idx="961">
                  <c:v>0.09587546363145272</c:v>
                </c:pt>
                <c:pt idx="962">
                  <c:v>0.08593338793178873</c:v>
                </c:pt>
                <c:pt idx="963">
                  <c:v>0.08529006927436678</c:v>
                </c:pt>
                <c:pt idx="964">
                  <c:v>0.08541129401124703</c:v>
                </c:pt>
                <c:pt idx="965">
                  <c:v>0.07182732206783426</c:v>
                </c:pt>
                <c:pt idx="966">
                  <c:v>0.06970467022548399</c:v>
                </c:pt>
                <c:pt idx="967">
                  <c:v>0.06264373701012738</c:v>
                </c:pt>
                <c:pt idx="968">
                  <c:v>0.07245342501538543</c:v>
                </c:pt>
                <c:pt idx="969">
                  <c:v>0.073288665475296</c:v>
                </c:pt>
                <c:pt idx="970">
                  <c:v>0.07088819138881552</c:v>
                </c:pt>
                <c:pt idx="971">
                  <c:v>0.07028985580633584</c:v>
                </c:pt>
                <c:pt idx="972">
                  <c:v>0.07304013595406644</c:v>
                </c:pt>
                <c:pt idx="973">
                  <c:v>0.07981073474583411</c:v>
                </c:pt>
                <c:pt idx="974">
                  <c:v>0.07004139961281797</c:v>
                </c:pt>
                <c:pt idx="975">
                  <c:v>0.059934770304463925</c:v>
                </c:pt>
                <c:pt idx="976">
                  <c:v>0.07153517610025983</c:v>
                </c:pt>
                <c:pt idx="977">
                  <c:v>0.06781994903128519</c:v>
                </c:pt>
                <c:pt idx="978">
                  <c:v>0.053927611622878624</c:v>
                </c:pt>
                <c:pt idx="979">
                  <c:v>0.0588454705017849</c:v>
                </c:pt>
                <c:pt idx="980">
                  <c:v>0.06398300265621804</c:v>
                </c:pt>
                <c:pt idx="981">
                  <c:v>0.048989572358950406</c:v>
                </c:pt>
                <c:pt idx="982">
                  <c:v>0.05174849496891154</c:v>
                </c:pt>
                <c:pt idx="983">
                  <c:v>0.059571441690315474</c:v>
                </c:pt>
                <c:pt idx="984">
                  <c:v>0.06381679616672153</c:v>
                </c:pt>
                <c:pt idx="985">
                  <c:v>0.07068248263926802</c:v>
                </c:pt>
                <c:pt idx="986">
                  <c:v>0.05688078967620025</c:v>
                </c:pt>
                <c:pt idx="987">
                  <c:v>0.06068015084561007</c:v>
                </c:pt>
                <c:pt idx="988">
                  <c:v>0.05810812057831294</c:v>
                </c:pt>
                <c:pt idx="989">
                  <c:v>0.053731249451495655</c:v>
                </c:pt>
                <c:pt idx="990">
                  <c:v>0.06292007918904163</c:v>
                </c:pt>
                <c:pt idx="991">
                  <c:v>0.07833572373494468</c:v>
                </c:pt>
                <c:pt idx="992">
                  <c:v>0.09720284145964553</c:v>
                </c:pt>
                <c:pt idx="993">
                  <c:v>0.11140138659790555</c:v>
                </c:pt>
                <c:pt idx="994">
                  <c:v>0.11074290936647535</c:v>
                </c:pt>
                <c:pt idx="995">
                  <c:v>0.1149646671663751</c:v>
                </c:pt>
                <c:pt idx="996">
                  <c:v>0.1235887151427375</c:v>
                </c:pt>
                <c:pt idx="997">
                  <c:v>0.12538779473994333</c:v>
                </c:pt>
                <c:pt idx="998">
                  <c:v>0.12729224324769106</c:v>
                </c:pt>
                <c:pt idx="999">
                  <c:v>0.13662132465834542</c:v>
                </c:pt>
                <c:pt idx="1000">
                  <c:v>0.13649267601771675</c:v>
                </c:pt>
                <c:pt idx="1001">
                  <c:v>0.12913021973383598</c:v>
                </c:pt>
                <c:pt idx="1002">
                  <c:v>0.12519238472565664</c:v>
                </c:pt>
                <c:pt idx="1003">
                  <c:v>0.13247479703021647</c:v>
                </c:pt>
                <c:pt idx="1004">
                  <c:v>0.1330166140438993</c:v>
                </c:pt>
                <c:pt idx="1005">
                  <c:v>0.13718837530274453</c:v>
                </c:pt>
                <c:pt idx="1006">
                  <c:v>0.14493917015688873</c:v>
                </c:pt>
                <c:pt idx="1007">
                  <c:v>0.1413772713854906</c:v>
                </c:pt>
                <c:pt idx="1008">
                  <c:v>0.15009095357980784</c:v>
                </c:pt>
                <c:pt idx="1009">
                  <c:v>0.1547476772940659</c:v>
                </c:pt>
                <c:pt idx="1010">
                  <c:v>0.14172128708081644</c:v>
                </c:pt>
                <c:pt idx="1011">
                  <c:v>0.15787880744428473</c:v>
                </c:pt>
                <c:pt idx="1012">
                  <c:v>0.15289173650364973</c:v>
                </c:pt>
                <c:pt idx="1013">
                  <c:v>0.13528315321437967</c:v>
                </c:pt>
                <c:pt idx="1014">
                  <c:v>0.12452303571359935</c:v>
                </c:pt>
                <c:pt idx="1015">
                  <c:v>0.11412127744464717</c:v>
                </c:pt>
                <c:pt idx="1016">
                  <c:v>0.11517484236159414</c:v>
                </c:pt>
                <c:pt idx="1017">
                  <c:v>0.11277545469430184</c:v>
                </c:pt>
                <c:pt idx="1018">
                  <c:v>0.1097154293624194</c:v>
                </c:pt>
                <c:pt idx="1019">
                  <c:v>0.11674788321630247</c:v>
                </c:pt>
                <c:pt idx="1020">
                  <c:v>0.12085619312035845</c:v>
                </c:pt>
                <c:pt idx="1021">
                  <c:v>0.12472589843203719</c:v>
                </c:pt>
                <c:pt idx="1022">
                  <c:v>0.129610999545116</c:v>
                </c:pt>
                <c:pt idx="1023">
                  <c:v>0.13673125322758728</c:v>
                </c:pt>
                <c:pt idx="1024">
                  <c:v>0.11447910607407219</c:v>
                </c:pt>
                <c:pt idx="1025">
                  <c:v>0.11112211290457807</c:v>
                </c:pt>
                <c:pt idx="1026">
                  <c:v>0.08860856152778718</c:v>
                </c:pt>
                <c:pt idx="1027">
                  <c:v>0.08947135925835603</c:v>
                </c:pt>
                <c:pt idx="1028">
                  <c:v>0.0899136702098291</c:v>
                </c:pt>
                <c:pt idx="1029">
                  <c:v>0.10122976059134281</c:v>
                </c:pt>
                <c:pt idx="1030">
                  <c:v>0.1141499681942888</c:v>
                </c:pt>
                <c:pt idx="1031">
                  <c:v>0.11679759290880543</c:v>
                </c:pt>
                <c:pt idx="1032">
                  <c:v>0.11199153238080428</c:v>
                </c:pt>
                <c:pt idx="1033">
                  <c:v>0.11761713153579301</c:v>
                </c:pt>
                <c:pt idx="1034">
                  <c:v>0.11251496618760526</c:v>
                </c:pt>
                <c:pt idx="1035">
                  <c:v>0.11300087913944235</c:v>
                </c:pt>
                <c:pt idx="1036">
                  <c:v>0.12392865011847731</c:v>
                </c:pt>
                <c:pt idx="1037">
                  <c:v>0.11847891364929031</c:v>
                </c:pt>
                <c:pt idx="1038">
                  <c:v>0.12754300756755121</c:v>
                </c:pt>
                <c:pt idx="1039">
                  <c:v>0.1353064940985207</c:v>
                </c:pt>
                <c:pt idx="1040">
                  <c:v>0.1255195591911078</c:v>
                </c:pt>
                <c:pt idx="1041">
                  <c:v>0.13643934344669928</c:v>
                </c:pt>
                <c:pt idx="1042">
                  <c:v>0.14449258480068572</c:v>
                </c:pt>
                <c:pt idx="1043">
                  <c:v>0.14611581397566975</c:v>
                </c:pt>
                <c:pt idx="1044">
                  <c:v>0.13833131187116265</c:v>
                </c:pt>
                <c:pt idx="1045">
                  <c:v>0.12955198037572369</c:v>
                </c:pt>
                <c:pt idx="1046">
                  <c:v>0.12429075939600298</c:v>
                </c:pt>
                <c:pt idx="1047">
                  <c:v>0.13059201267892773</c:v>
                </c:pt>
                <c:pt idx="1048">
                  <c:v>0.12083676836153279</c:v>
                </c:pt>
                <c:pt idx="1049">
                  <c:v>0.12599975314848155</c:v>
                </c:pt>
                <c:pt idx="1050">
                  <c:v>0.11322339705701401</c:v>
                </c:pt>
                <c:pt idx="1051">
                  <c:v>0.1115661953190743</c:v>
                </c:pt>
                <c:pt idx="1052">
                  <c:v>0.11322426711205047</c:v>
                </c:pt>
                <c:pt idx="1053">
                  <c:v>0.1395840110626554</c:v>
                </c:pt>
                <c:pt idx="1054">
                  <c:v>0.12518593832506908</c:v>
                </c:pt>
                <c:pt idx="1055">
                  <c:v>0.1414270278639469</c:v>
                </c:pt>
                <c:pt idx="1056">
                  <c:v>0.1435654947483176</c:v>
                </c:pt>
                <c:pt idx="1057">
                  <c:v>0.1485470183905535</c:v>
                </c:pt>
                <c:pt idx="1058">
                  <c:v>0.15035518190784947</c:v>
                </c:pt>
                <c:pt idx="1059">
                  <c:v>0.15573298283822856</c:v>
                </c:pt>
                <c:pt idx="1060">
                  <c:v>0.15456568271172566</c:v>
                </c:pt>
                <c:pt idx="1061">
                  <c:v>0.1710338034532357</c:v>
                </c:pt>
                <c:pt idx="1062">
                  <c:v>0.16648260883300248</c:v>
                </c:pt>
                <c:pt idx="1063">
                  <c:v>0.1795544794138597</c:v>
                </c:pt>
                <c:pt idx="1064">
                  <c:v>0.17286465076077007</c:v>
                </c:pt>
                <c:pt idx="1065">
                  <c:v>0.17272110087613468</c:v>
                </c:pt>
                <c:pt idx="1066">
                  <c:v>0.1613062508795411</c:v>
                </c:pt>
                <c:pt idx="1067">
                  <c:v>0.1668488466544482</c:v>
                </c:pt>
                <c:pt idx="1068">
                  <c:v>0.1833932424184892</c:v>
                </c:pt>
                <c:pt idx="1069">
                  <c:v>0.183056112963214</c:v>
                </c:pt>
                <c:pt idx="1070">
                  <c:v>0.181375683334684</c:v>
                </c:pt>
                <c:pt idx="1071">
                  <c:v>0.16939787931637684</c:v>
                </c:pt>
                <c:pt idx="1072">
                  <c:v>0.16737683210540366</c:v>
                </c:pt>
                <c:pt idx="1073">
                  <c:v>0.15023793606731184</c:v>
                </c:pt>
                <c:pt idx="1074">
                  <c:v>0.14078028767095696</c:v>
                </c:pt>
                <c:pt idx="1075">
                  <c:v>0.14375141278415016</c:v>
                </c:pt>
                <c:pt idx="1076">
                  <c:v>0.1585980213996807</c:v>
                </c:pt>
                <c:pt idx="1077">
                  <c:v>0.19003947889170303</c:v>
                </c:pt>
                <c:pt idx="1078">
                  <c:v>0.18394343227205168</c:v>
                </c:pt>
                <c:pt idx="1079">
                  <c:v>0.20061969165766858</c:v>
                </c:pt>
                <c:pt idx="1080">
                  <c:v>0.20394018378359036</c:v>
                </c:pt>
                <c:pt idx="1081">
                  <c:v>0.20275207222989677</c:v>
                </c:pt>
                <c:pt idx="1082">
                  <c:v>0.20823619745826383</c:v>
                </c:pt>
                <c:pt idx="1083">
                  <c:v>0.20949059624673416</c:v>
                </c:pt>
                <c:pt idx="1084">
                  <c:v>0.2113033316389863</c:v>
                </c:pt>
                <c:pt idx="1085">
                  <c:v>0.20714957259299305</c:v>
                </c:pt>
                <c:pt idx="1086">
                  <c:v>0.191659378857149</c:v>
                </c:pt>
                <c:pt idx="1087">
                  <c:v>0.1747206088023905</c:v>
                </c:pt>
                <c:pt idx="1088">
                  <c:v>0.18253934523271065</c:v>
                </c:pt>
                <c:pt idx="1089">
                  <c:v>0.17996300487618533</c:v>
                </c:pt>
                <c:pt idx="1090">
                  <c:v>0.17381204116086924</c:v>
                </c:pt>
                <c:pt idx="1091">
                  <c:v>0.17443510464651135</c:v>
                </c:pt>
                <c:pt idx="1092">
                  <c:v>0.18383276570818086</c:v>
                </c:pt>
                <c:pt idx="1093">
                  <c:v>0.18639393753506583</c:v>
                </c:pt>
                <c:pt idx="1094">
                  <c:v>0.17953358861150925</c:v>
                </c:pt>
                <c:pt idx="1095">
                  <c:v>0.19380568916770802</c:v>
                </c:pt>
                <c:pt idx="1096">
                  <c:v>0.21225268778608442</c:v>
                </c:pt>
                <c:pt idx="1097">
                  <c:v>0.2184937140250256</c:v>
                </c:pt>
                <c:pt idx="1098">
                  <c:v>0.2303128634437459</c:v>
                </c:pt>
                <c:pt idx="1099">
                  <c:v>0.24538249815194013</c:v>
                </c:pt>
                <c:pt idx="1100">
                  <c:v>0.25931327641943325</c:v>
                </c:pt>
                <c:pt idx="1101">
                  <c:v>0.2672267282381957</c:v>
                </c:pt>
                <c:pt idx="1102">
                  <c:v>0.27500027328865184</c:v>
                </c:pt>
                <c:pt idx="1103">
                  <c:v>0.2818684134554561</c:v>
                </c:pt>
                <c:pt idx="1104">
                  <c:v>0.26908215045449424</c:v>
                </c:pt>
                <c:pt idx="1105">
                  <c:v>0.2781013523046145</c:v>
                </c:pt>
                <c:pt idx="1106">
                  <c:v>0.26221425504843343</c:v>
                </c:pt>
                <c:pt idx="1107">
                  <c:v>0.253254181249736</c:v>
                </c:pt>
                <c:pt idx="1108">
                  <c:v>0.2693382801630333</c:v>
                </c:pt>
                <c:pt idx="1109">
                  <c:v>0.28004145674369596</c:v>
                </c:pt>
                <c:pt idx="1110">
                  <c:v>0.2987048243973627</c:v>
                </c:pt>
                <c:pt idx="1111">
                  <c:v>0.2959374056571227</c:v>
                </c:pt>
                <c:pt idx="1112">
                  <c:v>0.28233477493632986</c:v>
                </c:pt>
                <c:pt idx="1113">
                  <c:v>0.27998277628463186</c:v>
                </c:pt>
                <c:pt idx="1114">
                  <c:v>0.2817994524135041</c:v>
                </c:pt>
                <c:pt idx="1115">
                  <c:v>0.28333811525392893</c:v>
                </c:pt>
                <c:pt idx="1116">
                  <c:v>0.29773712341041736</c:v>
                </c:pt>
                <c:pt idx="1117">
                  <c:v>0.29386718171583825</c:v>
                </c:pt>
                <c:pt idx="1118">
                  <c:v>0.2987765375216458</c:v>
                </c:pt>
                <c:pt idx="1119">
                  <c:v>0.2871629323761262</c:v>
                </c:pt>
                <c:pt idx="1120">
                  <c:v>0.2932486569227073</c:v>
                </c:pt>
                <c:pt idx="1121">
                  <c:v>0.29386881003767185</c:v>
                </c:pt>
                <c:pt idx="1122">
                  <c:v>0.2852345301305015</c:v>
                </c:pt>
                <c:pt idx="1123">
                  <c:v>0.28293347329394525</c:v>
                </c:pt>
                <c:pt idx="1124">
                  <c:v>0.2812660836702814</c:v>
                </c:pt>
                <c:pt idx="1125">
                  <c:v>0.2785543176647156</c:v>
                </c:pt>
                <c:pt idx="1126">
                  <c:v>0.3006448490445748</c:v>
                </c:pt>
                <c:pt idx="1127">
                  <c:v>0.30001372801144255</c:v>
                </c:pt>
                <c:pt idx="1128">
                  <c:v>0.29758658542037586</c:v>
                </c:pt>
                <c:pt idx="1129">
                  <c:v>0.2723150692351808</c:v>
                </c:pt>
                <c:pt idx="1130">
                  <c:v>0.2620793328713651</c:v>
                </c:pt>
                <c:pt idx="1131">
                  <c:v>0.2594930830168336</c:v>
                </c:pt>
                <c:pt idx="1132">
                  <c:v>0.25185350123886696</c:v>
                </c:pt>
                <c:pt idx="1133">
                  <c:v>0.2688489424547784</c:v>
                </c:pt>
                <c:pt idx="1134">
                  <c:v>0.26743175382100093</c:v>
                </c:pt>
                <c:pt idx="1135">
                  <c:v>0.2835157420790533</c:v>
                </c:pt>
                <c:pt idx="1136">
                  <c:v>0.28484571342003595</c:v>
                </c:pt>
                <c:pt idx="1137">
                  <c:v>0.2858782982385135</c:v>
                </c:pt>
                <c:pt idx="1138">
                  <c:v>0.2853722199345161</c:v>
                </c:pt>
                <c:pt idx="1139">
                  <c:v>0.2859969935990405</c:v>
                </c:pt>
                <c:pt idx="1140">
                  <c:v>0.30757416170824414</c:v>
                </c:pt>
                <c:pt idx="1141">
                  <c:v>0.2793484710915617</c:v>
                </c:pt>
                <c:pt idx="1142">
                  <c:v>0.255597770267862</c:v>
                </c:pt>
                <c:pt idx="1143">
                  <c:v>0.24968375046317104</c:v>
                </c:pt>
                <c:pt idx="1144">
                  <c:v>0.2504185831017467</c:v>
                </c:pt>
                <c:pt idx="1145">
                  <c:v>0.2591790057356964</c:v>
                </c:pt>
                <c:pt idx="1146">
                  <c:v>0.26540480023084334</c:v>
                </c:pt>
                <c:pt idx="1147">
                  <c:v>0.26135507947598</c:v>
                </c:pt>
                <c:pt idx="1148">
                  <c:v>0.2741337606791894</c:v>
                </c:pt>
                <c:pt idx="1149">
                  <c:v>0.28717688493240234</c:v>
                </c:pt>
                <c:pt idx="1150">
                  <c:v>0.2900068068967059</c:v>
                </c:pt>
                <c:pt idx="1151">
                  <c:v>0.30238474076138666</c:v>
                </c:pt>
                <c:pt idx="1152">
                  <c:v>0.3063441596867109</c:v>
                </c:pt>
                <c:pt idx="1153">
                  <c:v>0.29996385886696</c:v>
                </c:pt>
                <c:pt idx="1154">
                  <c:v>0.3091666409761338</c:v>
                </c:pt>
                <c:pt idx="1155">
                  <c:v>0.3111314705608481</c:v>
                </c:pt>
                <c:pt idx="1156">
                  <c:v>0.3117381685174332</c:v>
                </c:pt>
                <c:pt idx="1157">
                  <c:v>0.3306836801936699</c:v>
                </c:pt>
                <c:pt idx="1158">
                  <c:v>0.3002998001847037</c:v>
                </c:pt>
                <c:pt idx="1159">
                  <c:v>0.28337249788454355</c:v>
                </c:pt>
                <c:pt idx="1160">
                  <c:v>0.2694772068951128</c:v>
                </c:pt>
                <c:pt idx="1161">
                  <c:v>0.26566753607183524</c:v>
                </c:pt>
                <c:pt idx="1162">
                  <c:v>0.2631757181615979</c:v>
                </c:pt>
                <c:pt idx="1163">
                  <c:v>0.24565598423729407</c:v>
                </c:pt>
                <c:pt idx="1164">
                  <c:v>0.23455843344571026</c:v>
                </c:pt>
                <c:pt idx="1165">
                  <c:v>0.22501777087697383</c:v>
                </c:pt>
                <c:pt idx="1166">
                  <c:v>0.2541677166159231</c:v>
                </c:pt>
                <c:pt idx="1167">
                  <c:v>0.27619911464150326</c:v>
                </c:pt>
                <c:pt idx="1168">
                  <c:v>0.27178139894121056</c:v>
                </c:pt>
                <c:pt idx="1169">
                  <c:v>0.2679609151477429</c:v>
                </c:pt>
                <c:pt idx="1170">
                  <c:v>0.2546886129158794</c:v>
                </c:pt>
                <c:pt idx="1171">
                  <c:v>0.2325091825280856</c:v>
                </c:pt>
                <c:pt idx="1172">
                  <c:v>0.2316952805816841</c:v>
                </c:pt>
                <c:pt idx="1173">
                  <c:v>0.22057357246237874</c:v>
                </c:pt>
                <c:pt idx="1174">
                  <c:v>0.2201389505627045</c:v>
                </c:pt>
                <c:pt idx="1175">
                  <c:v>0.2021395149797638</c:v>
                </c:pt>
                <c:pt idx="1176">
                  <c:v>0.19397848150697428</c:v>
                </c:pt>
                <c:pt idx="1177">
                  <c:v>0.19620161858247687</c:v>
                </c:pt>
                <c:pt idx="1178">
                  <c:v>0.2009014841901302</c:v>
                </c:pt>
                <c:pt idx="1179">
                  <c:v>0.2062046454591957</c:v>
                </c:pt>
                <c:pt idx="1180">
                  <c:v>0.19161602805345712</c:v>
                </c:pt>
                <c:pt idx="1181">
                  <c:v>0.2018275988083731</c:v>
                </c:pt>
                <c:pt idx="1182">
                  <c:v>0.1932321144601159</c:v>
                </c:pt>
                <c:pt idx="1183">
                  <c:v>0.20094295959381991</c:v>
                </c:pt>
                <c:pt idx="1184">
                  <c:v>0.20136200770968893</c:v>
                </c:pt>
                <c:pt idx="1185">
                  <c:v>0.18619399394500946</c:v>
                </c:pt>
                <c:pt idx="1186">
                  <c:v>0.18316459897058746</c:v>
                </c:pt>
                <c:pt idx="1187">
                  <c:v>0.1878037347710182</c:v>
                </c:pt>
                <c:pt idx="1188">
                  <c:v>0.19525503084968943</c:v>
                </c:pt>
                <c:pt idx="1189">
                  <c:v>0.19419198892333278</c:v>
                </c:pt>
                <c:pt idx="1190">
                  <c:v>0.2121071370779457</c:v>
                </c:pt>
                <c:pt idx="1191">
                  <c:v>0.22425408975349037</c:v>
                </c:pt>
                <c:pt idx="1192">
                  <c:v>0.22182001050316202</c:v>
                </c:pt>
                <c:pt idx="1193">
                  <c:v>0.2310767109915346</c:v>
                </c:pt>
                <c:pt idx="1194">
                  <c:v>0.25424685268456293</c:v>
                </c:pt>
                <c:pt idx="1195">
                  <c:v>0.2781711143508232</c:v>
                </c:pt>
                <c:pt idx="1196">
                  <c:v>0.26383514857939194</c:v>
                </c:pt>
                <c:pt idx="1197">
                  <c:v>0.25327951583032404</c:v>
                </c:pt>
                <c:pt idx="1198">
                  <c:v>0.2715231654442565</c:v>
                </c:pt>
                <c:pt idx="1199">
                  <c:v>0.2593118765876443</c:v>
                </c:pt>
                <c:pt idx="1200">
                  <c:v>0.24405639524602485</c:v>
                </c:pt>
                <c:pt idx="1201">
                  <c:v>0.23887011790642698</c:v>
                </c:pt>
                <c:pt idx="1202">
                  <c:v>0.24437336943406973</c:v>
                </c:pt>
                <c:pt idx="1203">
                  <c:v>0.24372284996948146</c:v>
                </c:pt>
                <c:pt idx="1204">
                  <c:v>0.2365958772714234</c:v>
                </c:pt>
                <c:pt idx="1205">
                  <c:v>0.22923192608574694</c:v>
                </c:pt>
                <c:pt idx="1206">
                  <c:v>0.22146661956623737</c:v>
                </c:pt>
                <c:pt idx="1207">
                  <c:v>0.21181050884159913</c:v>
                </c:pt>
                <c:pt idx="1208">
                  <c:v>0.23862243720159326</c:v>
                </c:pt>
                <c:pt idx="1209">
                  <c:v>0.24268060423515392</c:v>
                </c:pt>
                <c:pt idx="1210">
                  <c:v>0.2537084141436772</c:v>
                </c:pt>
                <c:pt idx="1211">
                  <c:v>0.24844755782902816</c:v>
                </c:pt>
                <c:pt idx="1212">
                  <c:v>0.2468038662148495</c:v>
                </c:pt>
                <c:pt idx="1213">
                  <c:v>0.23891314025875343</c:v>
                </c:pt>
                <c:pt idx="1214">
                  <c:v>0.2082609063193519</c:v>
                </c:pt>
                <c:pt idx="1215">
                  <c:v>0.19298717371846918</c:v>
                </c:pt>
                <c:pt idx="1216">
                  <c:v>0.1730035917603816</c:v>
                </c:pt>
                <c:pt idx="1217">
                  <c:v>0.14846090108056975</c:v>
                </c:pt>
                <c:pt idx="1218">
                  <c:v>0.13593588956105318</c:v>
                </c:pt>
                <c:pt idx="1219">
                  <c:v>0.15074517544008526</c:v>
                </c:pt>
                <c:pt idx="1220">
                  <c:v>0.1507772310658253</c:v>
                </c:pt>
                <c:pt idx="1221">
                  <c:v>0.16540401905252455</c:v>
                </c:pt>
                <c:pt idx="1222">
                  <c:v>0.17047857795646615</c:v>
                </c:pt>
                <c:pt idx="1223">
                  <c:v>0.17970699256070488</c:v>
                </c:pt>
                <c:pt idx="1224">
                  <c:v>0.17014131310044878</c:v>
                </c:pt>
                <c:pt idx="1225">
                  <c:v>0.1764922949379668</c:v>
                </c:pt>
                <c:pt idx="1226">
                  <c:v>0.1851663199458895</c:v>
                </c:pt>
                <c:pt idx="1227">
                  <c:v>0.1792071267720532</c:v>
                </c:pt>
                <c:pt idx="1228">
                  <c:v>0.18600600291019953</c:v>
                </c:pt>
                <c:pt idx="1229">
                  <c:v>0.19291897537572744</c:v>
                </c:pt>
                <c:pt idx="1230">
                  <c:v>0.1872278572923678</c:v>
                </c:pt>
                <c:pt idx="1231">
                  <c:v>0.17509878120738342</c:v>
                </c:pt>
                <c:pt idx="1232">
                  <c:v>0.16240863194266209</c:v>
                </c:pt>
                <c:pt idx="1233">
                  <c:v>0.16388698631912013</c:v>
                </c:pt>
                <c:pt idx="1234">
                  <c:v>0.16802645950444073</c:v>
                </c:pt>
                <c:pt idx="1235">
                  <c:v>0.15975800558296993</c:v>
                </c:pt>
                <c:pt idx="1236">
                  <c:v>0.16057280602860602</c:v>
                </c:pt>
                <c:pt idx="1237">
                  <c:v>0.1673854865965767</c:v>
                </c:pt>
                <c:pt idx="1238">
                  <c:v>0.17476664531391095</c:v>
                </c:pt>
                <c:pt idx="1239">
                  <c:v>0.1926147118294359</c:v>
                </c:pt>
                <c:pt idx="1240">
                  <c:v>0.20761937665819308</c:v>
                </c:pt>
                <c:pt idx="1241">
                  <c:v>0.19667560548684215</c:v>
                </c:pt>
                <c:pt idx="1242">
                  <c:v>0.21635382170284911</c:v>
                </c:pt>
                <c:pt idx="1243">
                  <c:v>0.21076555556738308</c:v>
                </c:pt>
                <c:pt idx="1244">
                  <c:v>0.22332881217444034</c:v>
                </c:pt>
                <c:pt idx="1245">
                  <c:v>0.22466942512558163</c:v>
                </c:pt>
                <c:pt idx="1246">
                  <c:v>0.22042543231427114</c:v>
                </c:pt>
                <c:pt idx="1247">
                  <c:v>0.20001611115376483</c:v>
                </c:pt>
                <c:pt idx="1248">
                  <c:v>0.1986002567283467</c:v>
                </c:pt>
                <c:pt idx="1249">
                  <c:v>0.1813833939552103</c:v>
                </c:pt>
                <c:pt idx="1250">
                  <c:v>0.19277115339748718</c:v>
                </c:pt>
                <c:pt idx="1251">
                  <c:v>0.21049517242416393</c:v>
                </c:pt>
                <c:pt idx="1252">
                  <c:v>0.2018756546504985</c:v>
                </c:pt>
                <c:pt idx="1253">
                  <c:v>0.20586434589167224</c:v>
                </c:pt>
                <c:pt idx="1254">
                  <c:v>0.19809710900190924</c:v>
                </c:pt>
                <c:pt idx="1255">
                  <c:v>0.19148288818778725</c:v>
                </c:pt>
                <c:pt idx="1256">
                  <c:v>0.20078562876062467</c:v>
                </c:pt>
                <c:pt idx="1257">
                  <c:v>0.2008863584792664</c:v>
                </c:pt>
                <c:pt idx="1258">
                  <c:v>0.22127339356062814</c:v>
                </c:pt>
                <c:pt idx="1259">
                  <c:v>0.2162280584780989</c:v>
                </c:pt>
                <c:pt idx="1260">
                  <c:v>0.22832185953482864</c:v>
                </c:pt>
                <c:pt idx="1261">
                  <c:v>0.23001132710482475</c:v>
                </c:pt>
                <c:pt idx="1262">
                  <c:v>0.23986358387756201</c:v>
                </c:pt>
                <c:pt idx="1263">
                  <c:v>0.23515458478234064</c:v>
                </c:pt>
                <c:pt idx="1264">
                  <c:v>0.23512888250401853</c:v>
                </c:pt>
                <c:pt idx="1265">
                  <c:v>0.23432945848481523</c:v>
                </c:pt>
                <c:pt idx="1266">
                  <c:v>0.22508119244574876</c:v>
                </c:pt>
                <c:pt idx="1267">
                  <c:v>0.23333796352322578</c:v>
                </c:pt>
                <c:pt idx="1268">
                  <c:v>0.24151174505787987</c:v>
                </c:pt>
                <c:pt idx="1269">
                  <c:v>0.24907102403122128</c:v>
                </c:pt>
                <c:pt idx="1270">
                  <c:v>0.2678710089928129</c:v>
                </c:pt>
                <c:pt idx="1271">
                  <c:v>0.2858985823743181</c:v>
                </c:pt>
                <c:pt idx="1272">
                  <c:v>0.2818968987075017</c:v>
                </c:pt>
                <c:pt idx="1273">
                  <c:v>0.2870167911074559</c:v>
                </c:pt>
                <c:pt idx="1274">
                  <c:v>0.2799713953622498</c:v>
                </c:pt>
                <c:pt idx="1275">
                  <c:v>0.2808313767874475</c:v>
                </c:pt>
                <c:pt idx="1276">
                  <c:v>0.2741100607368989</c:v>
                </c:pt>
                <c:pt idx="1277">
                  <c:v>0.29429281512395855</c:v>
                </c:pt>
                <c:pt idx="1278">
                  <c:v>0.29934719996796066</c:v>
                </c:pt>
                <c:pt idx="1279">
                  <c:v>0.2972405986053639</c:v>
                </c:pt>
                <c:pt idx="1280">
                  <c:v>0.31253425634602006</c:v>
                </c:pt>
                <c:pt idx="1281">
                  <c:v>0.28605932947563995</c:v>
                </c:pt>
                <c:pt idx="1282">
                  <c:v>0.2620306295637518</c:v>
                </c:pt>
                <c:pt idx="1283">
                  <c:v>0.27214008455829797</c:v>
                </c:pt>
                <c:pt idx="1284">
                  <c:v>0.2734433287950102</c:v>
                </c:pt>
                <c:pt idx="1285">
                  <c:v>0.2770462054107081</c:v>
                </c:pt>
                <c:pt idx="1286">
                  <c:v>0.2615291196523053</c:v>
                </c:pt>
                <c:pt idx="1287">
                  <c:v>0.26181836272959336</c:v>
                </c:pt>
                <c:pt idx="1288">
                  <c:v>0.2864027981503081</c:v>
                </c:pt>
                <c:pt idx="1289">
                  <c:v>0.29705408003230405</c:v>
                </c:pt>
                <c:pt idx="1290">
                  <c:v>0.2997288807527825</c:v>
                </c:pt>
                <c:pt idx="1291">
                  <c:v>0.2948925738009982</c:v>
                </c:pt>
                <c:pt idx="1292">
                  <c:v>0.29062144562997183</c:v>
                </c:pt>
                <c:pt idx="1293">
                  <c:v>0.265096334931485</c:v>
                </c:pt>
                <c:pt idx="1294">
                  <c:v>0.2687620578284611</c:v>
                </c:pt>
                <c:pt idx="1295">
                  <c:v>0.2795238111959619</c:v>
                </c:pt>
                <c:pt idx="1296">
                  <c:v>0.2609471936692942</c:v>
                </c:pt>
                <c:pt idx="1297">
                  <c:v>0.25359150805154784</c:v>
                </c:pt>
                <c:pt idx="1298">
                  <c:v>0.24037123980871167</c:v>
                </c:pt>
                <c:pt idx="1299">
                  <c:v>0.2295541652122457</c:v>
                </c:pt>
                <c:pt idx="1300">
                  <c:v>0.23073217087829256</c:v>
                </c:pt>
                <c:pt idx="1301">
                  <c:v>0.20691526285786055</c:v>
                </c:pt>
                <c:pt idx="1302">
                  <c:v>0.21450141221811414</c:v>
                </c:pt>
                <c:pt idx="1303">
                  <c:v>0.22374573930051356</c:v>
                </c:pt>
                <c:pt idx="1304">
                  <c:v>0.22137721052194248</c:v>
                </c:pt>
                <c:pt idx="1305">
                  <c:v>0.19314296228626926</c:v>
                </c:pt>
                <c:pt idx="1306">
                  <c:v>0.18238561284379373</c:v>
                </c:pt>
                <c:pt idx="1307">
                  <c:v>0.19676645870441156</c:v>
                </c:pt>
                <c:pt idx="1308">
                  <c:v>0.16572120502316667</c:v>
                </c:pt>
                <c:pt idx="1309">
                  <c:v>0.16239718316248508</c:v>
                </c:pt>
                <c:pt idx="1310">
                  <c:v>0.14988978087521931</c:v>
                </c:pt>
                <c:pt idx="1311">
                  <c:v>0.1591963193706003</c:v>
                </c:pt>
                <c:pt idx="1312">
                  <c:v>0.1522833564337529</c:v>
                </c:pt>
                <c:pt idx="1313">
                  <c:v>0.15722384414530044</c:v>
                </c:pt>
                <c:pt idx="1314">
                  <c:v>0.16396105553500284</c:v>
                </c:pt>
                <c:pt idx="1315">
                  <c:v>0.18478914399281532</c:v>
                </c:pt>
                <c:pt idx="1316">
                  <c:v>0.18303808669620203</c:v>
                </c:pt>
                <c:pt idx="1317">
                  <c:v>0.18779676454495187</c:v>
                </c:pt>
                <c:pt idx="1318">
                  <c:v>0.17157380420286272</c:v>
                </c:pt>
                <c:pt idx="1319">
                  <c:v>0.1853502572105199</c:v>
                </c:pt>
                <c:pt idx="1320">
                  <c:v>0.17731970591887825</c:v>
                </c:pt>
                <c:pt idx="1321">
                  <c:v>0.17157772397475424</c:v>
                </c:pt>
                <c:pt idx="1322">
                  <c:v>0.17185731625244038</c:v>
                </c:pt>
                <c:pt idx="1323">
                  <c:v>0.15498561622659657</c:v>
                </c:pt>
                <c:pt idx="1324">
                  <c:v>0.15801550763584693</c:v>
                </c:pt>
                <c:pt idx="1325">
                  <c:v>0.16917985361232013</c:v>
                </c:pt>
                <c:pt idx="1326">
                  <c:v>0.1729596616327551</c:v>
                </c:pt>
                <c:pt idx="1327">
                  <c:v>0.15578222236263195</c:v>
                </c:pt>
                <c:pt idx="1328">
                  <c:v>0.1549429068398751</c:v>
                </c:pt>
                <c:pt idx="1329">
                  <c:v>0.16360414082053332</c:v>
                </c:pt>
                <c:pt idx="1330">
                  <c:v>0.14336802539122506</c:v>
                </c:pt>
                <c:pt idx="1331">
                  <c:v>0.13220843660037573</c:v>
                </c:pt>
                <c:pt idx="1332">
                  <c:v>0.14214601600094334</c:v>
                </c:pt>
                <c:pt idx="1333">
                  <c:v>0.1455906217371743</c:v>
                </c:pt>
                <c:pt idx="1334">
                  <c:v>0.1505896699355691</c:v>
                </c:pt>
                <c:pt idx="1335">
                  <c:v>0.17143283269806697</c:v>
                </c:pt>
                <c:pt idx="1336">
                  <c:v>0.17717431950442464</c:v>
                </c:pt>
                <c:pt idx="1337">
                  <c:v>0.18506131222262368</c:v>
                </c:pt>
                <c:pt idx="1338">
                  <c:v>0.21611238650319975</c:v>
                </c:pt>
                <c:pt idx="1339">
                  <c:v>0.2141895385489716</c:v>
                </c:pt>
                <c:pt idx="1340">
                  <c:v>0.20553250524786448</c:v>
                </c:pt>
                <c:pt idx="1341">
                  <c:v>0.21097435828051747</c:v>
                </c:pt>
                <c:pt idx="1342">
                  <c:v>0.21656956210274236</c:v>
                </c:pt>
                <c:pt idx="1343">
                  <c:v>0.21102955222522723</c:v>
                </c:pt>
                <c:pt idx="1344">
                  <c:v>0.19969701417078212</c:v>
                </c:pt>
                <c:pt idx="1345">
                  <c:v>0.22656245566277367</c:v>
                </c:pt>
                <c:pt idx="1346">
                  <c:v>0.2309229010995586</c:v>
                </c:pt>
                <c:pt idx="1347">
                  <c:v>0.22291364136702518</c:v>
                </c:pt>
                <c:pt idx="1348">
                  <c:v>0.23410493728703208</c:v>
                </c:pt>
                <c:pt idx="1349">
                  <c:v>0.23338066708979466</c:v>
                </c:pt>
                <c:pt idx="1350">
                  <c:v>0.23097264706392084</c:v>
                </c:pt>
                <c:pt idx="1351">
                  <c:v>0.23810193874747143</c:v>
                </c:pt>
                <c:pt idx="1352">
                  <c:v>0.223464006181062</c:v>
                </c:pt>
                <c:pt idx="1353">
                  <c:v>0.22811311855397598</c:v>
                </c:pt>
                <c:pt idx="1354">
                  <c:v>0.2509843559557996</c:v>
                </c:pt>
                <c:pt idx="1355">
                  <c:v>0.25708751805977603</c:v>
                </c:pt>
                <c:pt idx="1356">
                  <c:v>0.2531603578147157</c:v>
                </c:pt>
                <c:pt idx="1357">
                  <c:v>0.247687179746356</c:v>
                </c:pt>
                <c:pt idx="1358">
                  <c:v>0.24338486769848044</c:v>
                </c:pt>
                <c:pt idx="1359">
                  <c:v>0.24094454405591925</c:v>
                </c:pt>
                <c:pt idx="1360">
                  <c:v>0.23704901802316125</c:v>
                </c:pt>
                <c:pt idx="1361">
                  <c:v>0.24837415068092628</c:v>
                </c:pt>
                <c:pt idx="1362">
                  <c:v>0.22838083134810838</c:v>
                </c:pt>
                <c:pt idx="1363">
                  <c:v>0.23899281393841498</c:v>
                </c:pt>
                <c:pt idx="1364">
                  <c:v>0.23508128638077874</c:v>
                </c:pt>
                <c:pt idx="1365">
                  <c:v>0.24005990394217291</c:v>
                </c:pt>
                <c:pt idx="1366">
                  <c:v>0.22734137196210402</c:v>
                </c:pt>
                <c:pt idx="1367">
                  <c:v>0.24338517240546254</c:v>
                </c:pt>
                <c:pt idx="1368">
                  <c:v>0.25865833411026684</c:v>
                </c:pt>
                <c:pt idx="1369">
                  <c:v>0.27069879818001774</c:v>
                </c:pt>
                <c:pt idx="1370">
                  <c:v>0.25298504044438497</c:v>
                </c:pt>
                <c:pt idx="1371">
                  <c:v>0.26341820855083364</c:v>
                </c:pt>
                <c:pt idx="1372">
                  <c:v>0.2688460089953437</c:v>
                </c:pt>
                <c:pt idx="1373">
                  <c:v>0.25006699055423987</c:v>
                </c:pt>
                <c:pt idx="1374">
                  <c:v>0.2503409738046063</c:v>
                </c:pt>
                <c:pt idx="1375">
                  <c:v>0.255233655118849</c:v>
                </c:pt>
                <c:pt idx="1376">
                  <c:v>0.2624295520492339</c:v>
                </c:pt>
                <c:pt idx="1377">
                  <c:v>0.2651235552343483</c:v>
                </c:pt>
                <c:pt idx="1378">
                  <c:v>0.2691930762262438</c:v>
                </c:pt>
                <c:pt idx="1379">
                  <c:v>0.28753203818345496</c:v>
                </c:pt>
                <c:pt idx="1380">
                  <c:v>0.3031077280202761</c:v>
                </c:pt>
                <c:pt idx="1381">
                  <c:v>0.2682013525620206</c:v>
                </c:pt>
                <c:pt idx="1382">
                  <c:v>0.2649475711269691</c:v>
                </c:pt>
                <c:pt idx="1383">
                  <c:v>0.263538185818911</c:v>
                </c:pt>
                <c:pt idx="1384">
                  <c:v>0.24307526520891587</c:v>
                </c:pt>
                <c:pt idx="1385">
                  <c:v>0.24474687706411768</c:v>
                </c:pt>
                <c:pt idx="1386">
                  <c:v>0.2600736928642631</c:v>
                </c:pt>
                <c:pt idx="1387">
                  <c:v>0.24763374805992355</c:v>
                </c:pt>
                <c:pt idx="1388">
                  <c:v>0.25218238230444134</c:v>
                </c:pt>
                <c:pt idx="1389">
                  <c:v>0.24185147315255007</c:v>
                </c:pt>
                <c:pt idx="1390">
                  <c:v>0.23448336441933115</c:v>
                </c:pt>
                <c:pt idx="1391">
                  <c:v>0.25236515164209816</c:v>
                </c:pt>
                <c:pt idx="1392">
                  <c:v>0.2464736511470771</c:v>
                </c:pt>
                <c:pt idx="1393">
                  <c:v>0.2525078533335303</c:v>
                </c:pt>
                <c:pt idx="1394">
                  <c:v>0.23080618570370004</c:v>
                </c:pt>
                <c:pt idx="1395">
                  <c:v>0.25313549224320653</c:v>
                </c:pt>
                <c:pt idx="1396">
                  <c:v>0.2608738523292775</c:v>
                </c:pt>
                <c:pt idx="1397">
                  <c:v>0.2592552074061325</c:v>
                </c:pt>
                <c:pt idx="1398">
                  <c:v>0.2667070916777723</c:v>
                </c:pt>
                <c:pt idx="1399">
                  <c:v>0.25031174131701084</c:v>
                </c:pt>
                <c:pt idx="1400">
                  <c:v>0.2649204362739792</c:v>
                </c:pt>
                <c:pt idx="1401">
                  <c:v>0.2615964083164153</c:v>
                </c:pt>
                <c:pt idx="1402">
                  <c:v>0.25971831971145387</c:v>
                </c:pt>
                <c:pt idx="1403">
                  <c:v>0.2544013908962943</c:v>
                </c:pt>
                <c:pt idx="1404">
                  <c:v>0.2480463572135132</c:v>
                </c:pt>
                <c:pt idx="1405">
                  <c:v>0.2568442987741675</c:v>
                </c:pt>
                <c:pt idx="1406">
                  <c:v>0.26046541183153793</c:v>
                </c:pt>
                <c:pt idx="1407">
                  <c:v>0.2688369281667702</c:v>
                </c:pt>
                <c:pt idx="1408">
                  <c:v>0.2693018940299303</c:v>
                </c:pt>
                <c:pt idx="1409">
                  <c:v>0.27606143205829636</c:v>
                </c:pt>
                <c:pt idx="1410">
                  <c:v>0.2715581307868291</c:v>
                </c:pt>
                <c:pt idx="1411">
                  <c:v>0.2990650516436597</c:v>
                </c:pt>
                <c:pt idx="1412">
                  <c:v>0.28029961664665715</c:v>
                </c:pt>
                <c:pt idx="1413">
                  <c:v>0.29621233840789296</c:v>
                </c:pt>
                <c:pt idx="1414">
                  <c:v>0.3136400698567101</c:v>
                </c:pt>
                <c:pt idx="1415">
                  <c:v>0.303596623330868</c:v>
                </c:pt>
                <c:pt idx="1416">
                  <c:v>0.33179094054778013</c:v>
                </c:pt>
                <c:pt idx="1417">
                  <c:v>0.34498520340321104</c:v>
                </c:pt>
                <c:pt idx="1418">
                  <c:v>0.35799903889367535</c:v>
                </c:pt>
                <c:pt idx="1419">
                  <c:v>0.3589716524401414</c:v>
                </c:pt>
                <c:pt idx="1420">
                  <c:v>0.3567787498674566</c:v>
                </c:pt>
                <c:pt idx="1421">
                  <c:v>0.35469014656255804</c:v>
                </c:pt>
                <c:pt idx="1422">
                  <c:v>0.3603257126607813</c:v>
                </c:pt>
                <c:pt idx="1423">
                  <c:v>0.3790455215539603</c:v>
                </c:pt>
                <c:pt idx="1424">
                  <c:v>0.3820414773599503</c:v>
                </c:pt>
                <c:pt idx="1425">
                  <c:v>0.3706966935559781</c:v>
                </c:pt>
                <c:pt idx="1426">
                  <c:v>0.3820488818287253</c:v>
                </c:pt>
                <c:pt idx="1427">
                  <c:v>0.3947650197365291</c:v>
                </c:pt>
                <c:pt idx="1428">
                  <c:v>0.40406707799151453</c:v>
                </c:pt>
                <c:pt idx="1429">
                  <c:v>0.4146428476542494</c:v>
                </c:pt>
                <c:pt idx="1430">
                  <c:v>0.4116384047909112</c:v>
                </c:pt>
                <c:pt idx="1431">
                  <c:v>0.3998153726064828</c:v>
                </c:pt>
                <c:pt idx="1432">
                  <c:v>0.3888998396733898</c:v>
                </c:pt>
                <c:pt idx="1433">
                  <c:v>0.3679456454872818</c:v>
                </c:pt>
                <c:pt idx="1434">
                  <c:v>0.37164048283075246</c:v>
                </c:pt>
                <c:pt idx="1435">
                  <c:v>0.37117033461951876</c:v>
                </c:pt>
                <c:pt idx="1436">
                  <c:v>0.366056029433637</c:v>
                </c:pt>
                <c:pt idx="1437">
                  <c:v>0.3283141159476928</c:v>
                </c:pt>
                <c:pt idx="1438">
                  <c:v>0.3131719779802715</c:v>
                </c:pt>
                <c:pt idx="1439">
                  <c:v>0.3277455424547986</c:v>
                </c:pt>
                <c:pt idx="1440">
                  <c:v>0.3199597129635612</c:v>
                </c:pt>
                <c:pt idx="1441">
                  <c:v>0.3250753764640959</c:v>
                </c:pt>
                <c:pt idx="1442">
                  <c:v>0.3081654116966628</c:v>
                </c:pt>
                <c:pt idx="1443">
                  <c:v>0.32663370125351276</c:v>
                </c:pt>
                <c:pt idx="1444">
                  <c:v>0.3254155029155352</c:v>
                </c:pt>
                <c:pt idx="1445">
                  <c:v>0.32966396825257194</c:v>
                </c:pt>
                <c:pt idx="1446">
                  <c:v>0.3596411201181584</c:v>
                </c:pt>
                <c:pt idx="1447">
                  <c:v>0.37984019463330787</c:v>
                </c:pt>
                <c:pt idx="1448">
                  <c:v>0.37644251283871877</c:v>
                </c:pt>
                <c:pt idx="1449">
                  <c:v>0.369304843891165</c:v>
                </c:pt>
                <c:pt idx="1450">
                  <c:v>0.36568621263972223</c:v>
                </c:pt>
                <c:pt idx="1451">
                  <c:v>0.37291620100944867</c:v>
                </c:pt>
                <c:pt idx="1452">
                  <c:v>0.37216160607272575</c:v>
                </c:pt>
                <c:pt idx="1453">
                  <c:v>0.36762685980787</c:v>
                </c:pt>
                <c:pt idx="1454">
                  <c:v>0.38730457851820743</c:v>
                </c:pt>
                <c:pt idx="1455">
                  <c:v>0.3864236484736736</c:v>
                </c:pt>
                <c:pt idx="1456">
                  <c:v>0.41733548376889784</c:v>
                </c:pt>
                <c:pt idx="1457">
                  <c:v>0.4191951049637883</c:v>
                </c:pt>
                <c:pt idx="1458">
                  <c:v>0.44390403645693466</c:v>
                </c:pt>
                <c:pt idx="1459">
                  <c:v>0.4494551753625253</c:v>
                </c:pt>
                <c:pt idx="1460">
                  <c:v>0.4633672279638199</c:v>
                </c:pt>
                <c:pt idx="1461">
                  <c:v>0.4539522085911949</c:v>
                </c:pt>
                <c:pt idx="1462">
                  <c:v>0.4428138985658432</c:v>
                </c:pt>
                <c:pt idx="1463">
                  <c:v>0.4497642311611143</c:v>
                </c:pt>
                <c:pt idx="1464">
                  <c:v>0.4640317318146199</c:v>
                </c:pt>
                <c:pt idx="1465">
                  <c:v>0.46525044565917173</c:v>
                </c:pt>
                <c:pt idx="1466">
                  <c:v>0.44800336848823674</c:v>
                </c:pt>
                <c:pt idx="1467">
                  <c:v>0.4299432123882445</c:v>
                </c:pt>
                <c:pt idx="1468">
                  <c:v>0.4111998087249644</c:v>
                </c:pt>
                <c:pt idx="1469">
                  <c:v>0.388137402755949</c:v>
                </c:pt>
                <c:pt idx="1470">
                  <c:v>0.3902058814509648</c:v>
                </c:pt>
                <c:pt idx="1471">
                  <c:v>0.40568987952768465</c:v>
                </c:pt>
                <c:pt idx="1472">
                  <c:v>0.40614328483236406</c:v>
                </c:pt>
                <c:pt idx="1473">
                  <c:v>0.37658061250685604</c:v>
                </c:pt>
                <c:pt idx="1474">
                  <c:v>0.3747054008448547</c:v>
                </c:pt>
                <c:pt idx="1475">
                  <c:v>0.37319791200596675</c:v>
                </c:pt>
                <c:pt idx="1476">
                  <c:v>0.401158951586448</c:v>
                </c:pt>
                <c:pt idx="1477">
                  <c:v>0.3823934957260213</c:v>
                </c:pt>
                <c:pt idx="1478">
                  <c:v>0.3778849061198879</c:v>
                </c:pt>
                <c:pt idx="1479">
                  <c:v>0.4008344066032137</c:v>
                </c:pt>
                <c:pt idx="1480">
                  <c:v>0.40745306094263767</c:v>
                </c:pt>
                <c:pt idx="1481">
                  <c:v>0.4156183635611639</c:v>
                </c:pt>
                <c:pt idx="1482">
                  <c:v>0.41779636624044514</c:v>
                </c:pt>
                <c:pt idx="1483">
                  <c:v>0.4228784057318946</c:v>
                </c:pt>
                <c:pt idx="1484">
                  <c:v>0.43402991719735806</c:v>
                </c:pt>
                <c:pt idx="1485">
                  <c:v>0.42364736847098206</c:v>
                </c:pt>
              </c:numCache>
            </c:numRef>
          </c:val>
          <c:smooth val="0"/>
          <c:extLst>
            <c:ext xmlns:c16="http://schemas.microsoft.com/office/drawing/2014/chart" uri="{C3380CC4-5D6E-409C-BE32-E72D297353CC}">
              <c16:uniqueId val="{00000000-1D55-4091-B462-1B341D70D85C}"/>
            </c:ext>
          </c:extLst>
        </c:ser>
        <c:ser>
          <c:idx val="1"/>
          <c:order val="1"/>
          <c:tx>
            <c:strRef>
              <c:f>Sheet1!$C$1</c:f>
              <c:strCache>
                <c:ptCount val="1"/>
                <c:pt idx="0">
                  <c:v>Benchmark return USD </c:v>
                </c:pt>
              </c:strCache>
            </c:strRef>
          </c:tx>
          <c:spPr>
            <a:ln w="12700" cap="rnd">
              <a:solidFill>
                <a:schemeClr val="tx1"/>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C$2:$C$1487</c:f>
              <c:numCache>
                <c:formatCode>General</c:formatCode>
                <c:ptCount val="1486"/>
                <c:pt idx="0">
                  <c:v>0.0</c:v>
                </c:pt>
                <c:pt idx="1">
                  <c:v>-0.001519698156074667</c:v>
                </c:pt>
                <c:pt idx="2">
                  <c:v>-0.006838369229432595</c:v>
                </c:pt>
                <c:pt idx="3">
                  <c:v>-0.009497549067309707</c:v>
                </c:pt>
                <c:pt idx="4">
                  <c:v>-0.015291101486503256</c:v>
                </c:pt>
                <c:pt idx="5">
                  <c:v>-0.015291101486503256</c:v>
                </c:pt>
                <c:pt idx="6">
                  <c:v>-0.015291101486503256</c:v>
                </c:pt>
                <c:pt idx="7">
                  <c:v>-0.011682158956955124</c:v>
                </c:pt>
                <c:pt idx="8">
                  <c:v>-0.017570531946513812</c:v>
                </c:pt>
                <c:pt idx="9">
                  <c:v>-0.011682158956955013</c:v>
                </c:pt>
                <c:pt idx="10">
                  <c:v>-0.01424644037506595</c:v>
                </c:pt>
                <c:pt idx="11">
                  <c:v>-0.02402899609927789</c:v>
                </c:pt>
                <c:pt idx="12">
                  <c:v>-0.02402899609927789</c:v>
                </c:pt>
                <c:pt idx="13">
                  <c:v>-0.02402899609927789</c:v>
                </c:pt>
                <c:pt idx="14">
                  <c:v>-0.04121962296912318</c:v>
                </c:pt>
                <c:pt idx="15">
                  <c:v>-0.0389401146597117</c:v>
                </c:pt>
                <c:pt idx="16">
                  <c:v>-0.03010732162717078</c:v>
                </c:pt>
                <c:pt idx="17">
                  <c:v>-0.01947021302865759</c:v>
                </c:pt>
                <c:pt idx="18">
                  <c:v>-0.022224369135701694</c:v>
                </c:pt>
                <c:pt idx="19">
                  <c:v>-0.022224369135701694</c:v>
                </c:pt>
                <c:pt idx="20">
                  <c:v>-0.022224369135701694</c:v>
                </c:pt>
                <c:pt idx="21">
                  <c:v>-0.023269263795341777</c:v>
                </c:pt>
                <c:pt idx="22">
                  <c:v>-0.042549135038660535</c:v>
                </c:pt>
                <c:pt idx="23">
                  <c:v>-0.04416388731330323</c:v>
                </c:pt>
                <c:pt idx="24">
                  <c:v>-0.0510021786933349</c:v>
                </c:pt>
                <c:pt idx="25">
                  <c:v>-0.04302409423389697</c:v>
                </c:pt>
                <c:pt idx="26">
                  <c:v>-0.04302409423389697</c:v>
                </c:pt>
                <c:pt idx="27">
                  <c:v>-0.04302409423389697</c:v>
                </c:pt>
                <c:pt idx="28">
                  <c:v>-0.054801229460019196</c:v>
                </c:pt>
                <c:pt idx="29">
                  <c:v>-0.046633192462247175</c:v>
                </c:pt>
                <c:pt idx="30">
                  <c:v>-0.0458732266101084</c:v>
                </c:pt>
                <c:pt idx="31">
                  <c:v>-0.03542607054992952</c:v>
                </c:pt>
                <c:pt idx="32">
                  <c:v>-0.03647073166136672</c:v>
                </c:pt>
                <c:pt idx="33">
                  <c:v>-0.03647073166136672</c:v>
                </c:pt>
                <c:pt idx="34">
                  <c:v>-0.03647073166136672</c:v>
                </c:pt>
                <c:pt idx="35">
                  <c:v>-0.04216930781139305</c:v>
                </c:pt>
                <c:pt idx="36">
                  <c:v>-0.04340392146116445</c:v>
                </c:pt>
                <c:pt idx="37">
                  <c:v>-0.036185725004464486</c:v>
                </c:pt>
                <c:pt idx="38">
                  <c:v>-0.02374406729177636</c:v>
                </c:pt>
                <c:pt idx="39">
                  <c:v>-0.01576621638054132</c:v>
                </c:pt>
                <c:pt idx="40">
                  <c:v>-0.01576621638054132</c:v>
                </c:pt>
                <c:pt idx="41">
                  <c:v>-0.01576621638054132</c:v>
                </c:pt>
                <c:pt idx="42">
                  <c:v>-0.01519612521733571</c:v>
                </c:pt>
                <c:pt idx="43">
                  <c:v>-0.006838369229432262</c:v>
                </c:pt>
                <c:pt idx="44">
                  <c:v>-0.003894182734652807</c:v>
                </c:pt>
                <c:pt idx="45">
                  <c:v>-0.0037041523469177884</c:v>
                </c:pt>
                <c:pt idx="46">
                  <c:v>-0.0036091760777506865</c:v>
                </c:pt>
                <c:pt idx="47">
                  <c:v>-0.0036091760777506865</c:v>
                </c:pt>
                <c:pt idx="48">
                  <c:v>-0.0036091760777506865</c:v>
                </c:pt>
                <c:pt idx="49">
                  <c:v>-0.0001900303877347964</c:v>
                </c:pt>
                <c:pt idx="50">
                  <c:v>-0.000759810153336482</c:v>
                </c:pt>
                <c:pt idx="51">
                  <c:v>-0.005698498300625077</c:v>
                </c:pt>
                <c:pt idx="52">
                  <c:v>0.002944186494779677</c:v>
                </c:pt>
                <c:pt idx="53">
                  <c:v>0.00018987468893372217</c:v>
                </c:pt>
                <c:pt idx="54">
                  <c:v>0.00018987468893372217</c:v>
                </c:pt>
                <c:pt idx="55">
                  <c:v>0.00018987468893372217</c:v>
                </c:pt>
                <c:pt idx="56">
                  <c:v>0.005223616954790566</c:v>
                </c:pt>
                <c:pt idx="57">
                  <c:v>0.005793474569793178</c:v>
                </c:pt>
                <c:pt idx="58">
                  <c:v>0.012251860873156328</c:v>
                </c:pt>
                <c:pt idx="59">
                  <c:v>0.014436159365198042</c:v>
                </c:pt>
                <c:pt idx="60">
                  <c:v>0.016430661017707182</c:v>
                </c:pt>
                <c:pt idx="61">
                  <c:v>0.016430661017707182</c:v>
                </c:pt>
                <c:pt idx="62">
                  <c:v>0.016430661017707182</c:v>
                </c:pt>
                <c:pt idx="63">
                  <c:v>0.018330264250450368</c:v>
                </c:pt>
                <c:pt idx="64">
                  <c:v>0.01576582713353747</c:v>
                </c:pt>
                <c:pt idx="65">
                  <c:v>0.006553284723129993</c:v>
                </c:pt>
                <c:pt idx="66">
                  <c:v>0.009877376294577855</c:v>
                </c:pt>
                <c:pt idx="67">
                  <c:v>0.016905620212943617</c:v>
                </c:pt>
                <c:pt idx="68">
                  <c:v>0.016905620212943617</c:v>
                </c:pt>
                <c:pt idx="69">
                  <c:v>0.016905620212943617</c:v>
                </c:pt>
                <c:pt idx="70">
                  <c:v>0.01633568474854008</c:v>
                </c:pt>
                <c:pt idx="71">
                  <c:v>0.01842524051961747</c:v>
                </c:pt>
                <c:pt idx="72">
                  <c:v>0.015576030294005117</c:v>
                </c:pt>
                <c:pt idx="73">
                  <c:v>0.015860959101506422</c:v>
                </c:pt>
                <c:pt idx="74">
                  <c:v>0.012251860873156328</c:v>
                </c:pt>
                <c:pt idx="75">
                  <c:v>0.012251860873156328</c:v>
                </c:pt>
                <c:pt idx="76">
                  <c:v>0.012251860873156328</c:v>
                </c:pt>
                <c:pt idx="77">
                  <c:v>0.006173301797060438</c:v>
                </c:pt>
                <c:pt idx="78">
                  <c:v>0.005888372989559132</c:v>
                </c:pt>
                <c:pt idx="79">
                  <c:v>0.0062682780662275395</c:v>
                </c:pt>
                <c:pt idx="80">
                  <c:v>0.0062682780662275395</c:v>
                </c:pt>
                <c:pt idx="81">
                  <c:v>-0.01823536583068297</c:v>
                </c:pt>
                <c:pt idx="82">
                  <c:v>-0.01823536583068297</c:v>
                </c:pt>
                <c:pt idx="83">
                  <c:v>-0.01823536583068297</c:v>
                </c:pt>
                <c:pt idx="84">
                  <c:v>-0.009402650647542976</c:v>
                </c:pt>
                <c:pt idx="85">
                  <c:v>-0.02288928086927211</c:v>
                </c:pt>
                <c:pt idx="86">
                  <c:v>-0.03371657555432228</c:v>
                </c:pt>
                <c:pt idx="87">
                  <c:v>-0.01975498613735671</c:v>
                </c:pt>
                <c:pt idx="88">
                  <c:v>-0.028112975673463048</c:v>
                </c:pt>
                <c:pt idx="89">
                  <c:v>-0.028112975673463048</c:v>
                </c:pt>
                <c:pt idx="90">
                  <c:v>-0.028112975673463048</c:v>
                </c:pt>
                <c:pt idx="91">
                  <c:v>-0.018330419949250998</c:v>
                </c:pt>
                <c:pt idx="92">
                  <c:v>0.002944186494779899</c:v>
                </c:pt>
                <c:pt idx="93">
                  <c:v>0.005793474569793178</c:v>
                </c:pt>
                <c:pt idx="94">
                  <c:v>-0.002184532040243714</c:v>
                </c:pt>
                <c:pt idx="95">
                  <c:v>0.003229037452880501</c:v>
                </c:pt>
                <c:pt idx="96">
                  <c:v>0.003229037452880501</c:v>
                </c:pt>
                <c:pt idx="97">
                  <c:v>0.003229037452880501</c:v>
                </c:pt>
                <c:pt idx="98">
                  <c:v>-0.006773209280831138</c:v>
                </c:pt>
                <c:pt idx="99">
                  <c:v>-0.012143494507023345</c:v>
                </c:pt>
                <c:pt idx="100">
                  <c:v>0.00013172118641957553</c:v>
                </c:pt>
                <c:pt idx="101">
                  <c:v>-0.004663490514905888</c:v>
                </c:pt>
                <c:pt idx="102">
                  <c:v>-0.014445112046306385</c:v>
                </c:pt>
                <c:pt idx="103">
                  <c:v>-0.014445112046306385</c:v>
                </c:pt>
                <c:pt idx="104">
                  <c:v>-0.014445112046306385</c:v>
                </c:pt>
                <c:pt idx="105">
                  <c:v>-0.023747336966615795</c:v>
                </c:pt>
                <c:pt idx="106">
                  <c:v>-0.007828068663793486</c:v>
                </c:pt>
                <c:pt idx="107">
                  <c:v>0.0014742341059170716</c:v>
                </c:pt>
                <c:pt idx="108">
                  <c:v>0.007899378715071848</c:v>
                </c:pt>
                <c:pt idx="109">
                  <c:v>0.007899378715071848</c:v>
                </c:pt>
                <c:pt idx="110">
                  <c:v>0.007899378715071848</c:v>
                </c:pt>
                <c:pt idx="111">
                  <c:v>0.007899378715071848</c:v>
                </c:pt>
                <c:pt idx="112">
                  <c:v>0.01892775840279315</c:v>
                </c:pt>
                <c:pt idx="113">
                  <c:v>0.01787289901983069</c:v>
                </c:pt>
                <c:pt idx="114">
                  <c:v>0.017968809481809123</c:v>
                </c:pt>
                <c:pt idx="115">
                  <c:v>0.016730848307796586</c:v>
                </c:pt>
                <c:pt idx="116">
                  <c:v>0.015099436261349242</c:v>
                </c:pt>
                <c:pt idx="117">
                  <c:v>0.015099436261349242</c:v>
                </c:pt>
                <c:pt idx="118">
                  <c:v>0.015099436261349242</c:v>
                </c:pt>
                <c:pt idx="119">
                  <c:v>0.0204733804093864</c:v>
                </c:pt>
                <c:pt idx="120">
                  <c:v>0.019609797004574325</c:v>
                </c:pt>
                <c:pt idx="121">
                  <c:v>0.0030081008529661</c:v>
                </c:pt>
                <c:pt idx="122">
                  <c:v>0.0008969029484229285</c:v>
                </c:pt>
                <c:pt idx="123">
                  <c:v>0.0007050820244658418</c:v>
                </c:pt>
                <c:pt idx="124">
                  <c:v>0.0007050820244658418</c:v>
                </c:pt>
                <c:pt idx="125">
                  <c:v>0.0007050820244658418</c:v>
                </c:pt>
                <c:pt idx="126">
                  <c:v>-0.0021737888229109714</c:v>
                </c:pt>
                <c:pt idx="127">
                  <c:v>0.009725569962713232</c:v>
                </c:pt>
                <c:pt idx="128">
                  <c:v>0.015867264902984957</c:v>
                </c:pt>
                <c:pt idx="129">
                  <c:v>0.0022405057595338285</c:v>
                </c:pt>
                <c:pt idx="130">
                  <c:v>0.002528392844271643</c:v>
                </c:pt>
                <c:pt idx="131">
                  <c:v>0.002528392844271643</c:v>
                </c:pt>
                <c:pt idx="132">
                  <c:v>0.002528392844271643</c:v>
                </c:pt>
                <c:pt idx="133">
                  <c:v>0.002528392844271643</c:v>
                </c:pt>
                <c:pt idx="134">
                  <c:v>-0.014841054099571038</c:v>
                </c:pt>
                <c:pt idx="135">
                  <c:v>-0.020790772417083603</c:v>
                </c:pt>
                <c:pt idx="136">
                  <c:v>-0.028467891092423092</c:v>
                </c:pt>
                <c:pt idx="137">
                  <c:v>-0.04497359893265185</c:v>
                </c:pt>
                <c:pt idx="138">
                  <c:v>-0.04497359893265185</c:v>
                </c:pt>
                <c:pt idx="139">
                  <c:v>-0.04497359893265185</c:v>
                </c:pt>
                <c:pt idx="140">
                  <c:v>-0.046509022667719724</c:v>
                </c:pt>
                <c:pt idx="141">
                  <c:v>-0.056105206926041484</c:v>
                </c:pt>
                <c:pt idx="142">
                  <c:v>-0.06080738859322388</c:v>
                </c:pt>
                <c:pt idx="143">
                  <c:v>-0.06560555857178574</c:v>
                </c:pt>
                <c:pt idx="144">
                  <c:v>-0.05063527446662486</c:v>
                </c:pt>
                <c:pt idx="145">
                  <c:v>-0.05063527446662486</c:v>
                </c:pt>
                <c:pt idx="146">
                  <c:v>-0.05063527446662486</c:v>
                </c:pt>
                <c:pt idx="147">
                  <c:v>-0.03105871915626024</c:v>
                </c:pt>
                <c:pt idx="148">
                  <c:v>-0.02357373280248165</c:v>
                </c:pt>
                <c:pt idx="149">
                  <c:v>-0.017336049550830457</c:v>
                </c:pt>
                <c:pt idx="150">
                  <c:v>-0.036144931918361545</c:v>
                </c:pt>
                <c:pt idx="151">
                  <c:v>-0.03182662564729655</c:v>
                </c:pt>
                <c:pt idx="152">
                  <c:v>-0.03182662564729655</c:v>
                </c:pt>
                <c:pt idx="153">
                  <c:v>-0.03182662564729655</c:v>
                </c:pt>
                <c:pt idx="154">
                  <c:v>-0.03374569123027882</c:v>
                </c:pt>
                <c:pt idx="155">
                  <c:v>-0.02626070487650023</c:v>
                </c:pt>
                <c:pt idx="156">
                  <c:v>-0.01090646752582114</c:v>
                </c:pt>
                <c:pt idx="157">
                  <c:v>-0.02520506699952807</c:v>
                </c:pt>
                <c:pt idx="158">
                  <c:v>-0.0437259065835196</c:v>
                </c:pt>
                <c:pt idx="159">
                  <c:v>-0.0437259065835196</c:v>
                </c:pt>
                <c:pt idx="160">
                  <c:v>-0.0437259065835196</c:v>
                </c:pt>
                <c:pt idx="161">
                  <c:v>-0.04727661776115222</c:v>
                </c:pt>
                <c:pt idx="162">
                  <c:v>-0.030579011147565227</c:v>
                </c:pt>
                <c:pt idx="163">
                  <c:v>-0.028371669232840513</c:v>
                </c:pt>
                <c:pt idx="164">
                  <c:v>-0.04718062944977264</c:v>
                </c:pt>
                <c:pt idx="165">
                  <c:v>-0.054281896106235905</c:v>
                </c:pt>
                <c:pt idx="166">
                  <c:v>-0.054281896106235905</c:v>
                </c:pt>
                <c:pt idx="167">
                  <c:v>-0.054281896106235905</c:v>
                </c:pt>
                <c:pt idx="168">
                  <c:v>-0.054281896106235905</c:v>
                </c:pt>
                <c:pt idx="169">
                  <c:v>-0.06522168317566834</c:v>
                </c:pt>
                <c:pt idx="170">
                  <c:v>-0.07846464477240322</c:v>
                </c:pt>
                <c:pt idx="171">
                  <c:v>-0.07462604651003302</c:v>
                </c:pt>
                <c:pt idx="172">
                  <c:v>-0.05408999733287767</c:v>
                </c:pt>
                <c:pt idx="173">
                  <c:v>-0.05408999733287767</c:v>
                </c:pt>
                <c:pt idx="174">
                  <c:v>-0.05408999733287767</c:v>
                </c:pt>
                <c:pt idx="175">
                  <c:v>-0.06071155598064604</c:v>
                </c:pt>
                <c:pt idx="176">
                  <c:v>-0.07664141180199857</c:v>
                </c:pt>
                <c:pt idx="177">
                  <c:v>-0.06339860590406554</c:v>
                </c:pt>
                <c:pt idx="178">
                  <c:v>-0.07289880185100783</c:v>
                </c:pt>
                <c:pt idx="179">
                  <c:v>-0.08662154930583843</c:v>
                </c:pt>
                <c:pt idx="180">
                  <c:v>-0.08662154930583843</c:v>
                </c:pt>
                <c:pt idx="181">
                  <c:v>-0.08662154930583843</c:v>
                </c:pt>
                <c:pt idx="182">
                  <c:v>-0.11502677163049324</c:v>
                </c:pt>
                <c:pt idx="183">
                  <c:v>-0.11608225380866344</c:v>
                </c:pt>
                <c:pt idx="184">
                  <c:v>-0.08930852137985701</c:v>
                </c:pt>
                <c:pt idx="185">
                  <c:v>-0.09650585419710067</c:v>
                </c:pt>
                <c:pt idx="186">
                  <c:v>-0.10898098715220017</c:v>
                </c:pt>
                <c:pt idx="187">
                  <c:v>-0.10898098715220017</c:v>
                </c:pt>
                <c:pt idx="188">
                  <c:v>-0.10898098715220017</c:v>
                </c:pt>
                <c:pt idx="189">
                  <c:v>-0.11473872884695357</c:v>
                </c:pt>
                <c:pt idx="190">
                  <c:v>-0.10092014877954536</c:v>
                </c:pt>
                <c:pt idx="191">
                  <c:v>-0.07049971686172696</c:v>
                </c:pt>
                <c:pt idx="192">
                  <c:v>-0.060999365215982815</c:v>
                </c:pt>
                <c:pt idx="193">
                  <c:v>-0.05063527446662475</c:v>
                </c:pt>
                <c:pt idx="194">
                  <c:v>-0.05063527446662475</c:v>
                </c:pt>
                <c:pt idx="195">
                  <c:v>-0.05063527446662475</c:v>
                </c:pt>
                <c:pt idx="196">
                  <c:v>-0.053993931172097276</c:v>
                </c:pt>
                <c:pt idx="197">
                  <c:v>-0.04257443609397005</c:v>
                </c:pt>
                <c:pt idx="198">
                  <c:v>-0.053322246540643436</c:v>
                </c:pt>
                <c:pt idx="199">
                  <c:v>-0.04238238162180996</c:v>
                </c:pt>
                <c:pt idx="200">
                  <c:v>-0.040559226500806234</c:v>
                </c:pt>
                <c:pt idx="201">
                  <c:v>-0.040559226500806234</c:v>
                </c:pt>
                <c:pt idx="202">
                  <c:v>-0.040559226500806234</c:v>
                </c:pt>
                <c:pt idx="203">
                  <c:v>-0.036816616549815495</c:v>
                </c:pt>
                <c:pt idx="204">
                  <c:v>-0.0213665465865589</c:v>
                </c:pt>
                <c:pt idx="205">
                  <c:v>-0.026836479045975636</c:v>
                </c:pt>
                <c:pt idx="206">
                  <c:v>-0.04247852563199139</c:v>
                </c:pt>
                <c:pt idx="207">
                  <c:v>-0.03624084238034031</c:v>
                </c:pt>
                <c:pt idx="208">
                  <c:v>-0.03624084238034031</c:v>
                </c:pt>
                <c:pt idx="209">
                  <c:v>-0.03624084238034031</c:v>
                </c:pt>
                <c:pt idx="210">
                  <c:v>-0.026932311658553476</c:v>
                </c:pt>
                <c:pt idx="211">
                  <c:v>-0.04084711358554405</c:v>
                </c:pt>
                <c:pt idx="212">
                  <c:v>-0.05188288896635618</c:v>
                </c:pt>
                <c:pt idx="213">
                  <c:v>-0.049867679373192364</c:v>
                </c:pt>
                <c:pt idx="214">
                  <c:v>-0.050731340627405364</c:v>
                </c:pt>
                <c:pt idx="215">
                  <c:v>-0.050731340627405364</c:v>
                </c:pt>
                <c:pt idx="216">
                  <c:v>-0.050731340627405364</c:v>
                </c:pt>
                <c:pt idx="217">
                  <c:v>-0.06426203361007599</c:v>
                </c:pt>
                <c:pt idx="218">
                  <c:v>-0.06944415683415606</c:v>
                </c:pt>
                <c:pt idx="219">
                  <c:v>-0.058216482679985804</c:v>
                </c:pt>
                <c:pt idx="220">
                  <c:v>-0.06810070972184723</c:v>
                </c:pt>
                <c:pt idx="221">
                  <c:v>-0.06810070972184723</c:v>
                </c:pt>
                <c:pt idx="222">
                  <c:v>-0.06810070972184723</c:v>
                </c:pt>
                <c:pt idx="223">
                  <c:v>-0.06810070972184723</c:v>
                </c:pt>
                <c:pt idx="224">
                  <c:v>-0.06963605560751418</c:v>
                </c:pt>
                <c:pt idx="225">
                  <c:v>-0.05975175071625183</c:v>
                </c:pt>
                <c:pt idx="226">
                  <c:v>-0.058888167311439865</c:v>
                </c:pt>
                <c:pt idx="227">
                  <c:v>-0.07347442032168161</c:v>
                </c:pt>
                <c:pt idx="228">
                  <c:v>-0.09429859013177733</c:v>
                </c:pt>
                <c:pt idx="229">
                  <c:v>-0.09429859013177733</c:v>
                </c:pt>
                <c:pt idx="230">
                  <c:v>-0.09429859013177733</c:v>
                </c:pt>
                <c:pt idx="231">
                  <c:v>-0.09285915470808892</c:v>
                </c:pt>
                <c:pt idx="232">
                  <c:v>-0.11790564247787017</c:v>
                </c:pt>
                <c:pt idx="233">
                  <c:v>-0.11454690792299671</c:v>
                </c:pt>
                <c:pt idx="234">
                  <c:v>-0.09602591264020333</c:v>
                </c:pt>
                <c:pt idx="235">
                  <c:v>-0.11972879759887389</c:v>
                </c:pt>
                <c:pt idx="236">
                  <c:v>-0.11972879759887389</c:v>
                </c:pt>
                <c:pt idx="237">
                  <c:v>-0.11972879759887389</c:v>
                </c:pt>
                <c:pt idx="238">
                  <c:v>-0.11685000460089823</c:v>
                </c:pt>
                <c:pt idx="239">
                  <c:v>-0.111476138302262</c:v>
                </c:pt>
                <c:pt idx="240">
                  <c:v>-0.09055605803018774</c:v>
                </c:pt>
                <c:pt idx="241">
                  <c:v>-0.12155218626808062</c:v>
                </c:pt>
                <c:pt idx="242">
                  <c:v>-0.13028486497099134</c:v>
                </c:pt>
                <c:pt idx="243">
                  <c:v>-0.13028486497099134</c:v>
                </c:pt>
                <c:pt idx="244">
                  <c:v>-0.13028486497099134</c:v>
                </c:pt>
                <c:pt idx="245">
                  <c:v>-0.15782619249323027</c:v>
                </c:pt>
                <c:pt idx="246">
                  <c:v>-0.15485148903327595</c:v>
                </c:pt>
                <c:pt idx="247">
                  <c:v>-0.1654074007065912</c:v>
                </c:pt>
                <c:pt idx="248">
                  <c:v>-0.16655894904554192</c:v>
                </c:pt>
                <c:pt idx="249">
                  <c:v>-0.14458338659529735</c:v>
                </c:pt>
                <c:pt idx="250">
                  <c:v>-0.14458338659529735</c:v>
                </c:pt>
                <c:pt idx="251">
                  <c:v>-0.14458338659529735</c:v>
                </c:pt>
                <c:pt idx="252">
                  <c:v>-0.1473663469806954</c:v>
                </c:pt>
                <c:pt idx="253">
                  <c:v>-0.1300928883482323</c:v>
                </c:pt>
                <c:pt idx="254">
                  <c:v>-0.15916971745494002</c:v>
                </c:pt>
                <c:pt idx="255">
                  <c:v>-0.15840220021090856</c:v>
                </c:pt>
                <c:pt idx="256">
                  <c:v>-0.15600303737222665</c:v>
                </c:pt>
                <c:pt idx="257">
                  <c:v>-0.15600303737222665</c:v>
                </c:pt>
                <c:pt idx="258">
                  <c:v>-0.15600303737222665</c:v>
                </c:pt>
                <c:pt idx="259">
                  <c:v>-0.1423762003793746</c:v>
                </c:pt>
                <c:pt idx="260">
                  <c:v>-0.14947754488523868</c:v>
                </c:pt>
                <c:pt idx="261">
                  <c:v>-0.1436238148791058</c:v>
                </c:pt>
                <c:pt idx="262">
                  <c:v>-0.129517114178757</c:v>
                </c:pt>
                <c:pt idx="263">
                  <c:v>-0.11176402538699992</c:v>
                </c:pt>
                <c:pt idx="264">
                  <c:v>-0.11176402538699992</c:v>
                </c:pt>
                <c:pt idx="265">
                  <c:v>-0.11176402538699992</c:v>
                </c:pt>
                <c:pt idx="266">
                  <c:v>-0.11176402538699992</c:v>
                </c:pt>
                <c:pt idx="267">
                  <c:v>-0.1157943667239264</c:v>
                </c:pt>
                <c:pt idx="268">
                  <c:v>-0.12231993706031519</c:v>
                </c:pt>
                <c:pt idx="269">
                  <c:v>-0.1046626030317348</c:v>
                </c:pt>
                <c:pt idx="270">
                  <c:v>-0.11953697667491703</c:v>
                </c:pt>
                <c:pt idx="271">
                  <c:v>-0.11953697667491703</c:v>
                </c:pt>
                <c:pt idx="272">
                  <c:v>-0.11953697667491703</c:v>
                </c:pt>
                <c:pt idx="273">
                  <c:v>-0.11637021874280262</c:v>
                </c:pt>
                <c:pt idx="274">
                  <c:v>-0.10965282748245664</c:v>
                </c:pt>
                <c:pt idx="275">
                  <c:v>-0.11800155293984915</c:v>
                </c:pt>
                <c:pt idx="276">
                  <c:v>-0.1385639152145277</c:v>
                </c:pt>
                <c:pt idx="277">
                  <c:v>-0.1609378330494674</c:v>
                </c:pt>
                <c:pt idx="278">
                  <c:v>-0.1609378330494674</c:v>
                </c:pt>
                <c:pt idx="279">
                  <c:v>-0.1609378330494674</c:v>
                </c:pt>
                <c:pt idx="280">
                  <c:v>-0.19202854830952265</c:v>
                </c:pt>
                <c:pt idx="281">
                  <c:v>-0.19444989822747716</c:v>
                </c:pt>
                <c:pt idx="282">
                  <c:v>-0.1821491479305205</c:v>
                </c:pt>
                <c:pt idx="283">
                  <c:v>-0.20607250239270036</c:v>
                </c:pt>
                <c:pt idx="284">
                  <c:v>-0.20646011456006352</c:v>
                </c:pt>
                <c:pt idx="285">
                  <c:v>-0.20646011456006352</c:v>
                </c:pt>
                <c:pt idx="286">
                  <c:v>-0.20646011456006352</c:v>
                </c:pt>
                <c:pt idx="287">
                  <c:v>-0.20646011456006352</c:v>
                </c:pt>
                <c:pt idx="288">
                  <c:v>-0.18873544079965565</c:v>
                </c:pt>
                <c:pt idx="289">
                  <c:v>-0.1933845291753855</c:v>
                </c:pt>
                <c:pt idx="290">
                  <c:v>-0.18873544079965565</c:v>
                </c:pt>
                <c:pt idx="291">
                  <c:v>-0.1640371734003535</c:v>
                </c:pt>
                <c:pt idx="292">
                  <c:v>-0.1640371734003535</c:v>
                </c:pt>
                <c:pt idx="293">
                  <c:v>-0.1640371734003535</c:v>
                </c:pt>
                <c:pt idx="294">
                  <c:v>-0.16645860116770905</c:v>
                </c:pt>
                <c:pt idx="295">
                  <c:v>-0.17875927361526467</c:v>
                </c:pt>
                <c:pt idx="296">
                  <c:v>-0.18098685637423806</c:v>
                </c:pt>
                <c:pt idx="297">
                  <c:v>-0.18747614888978104</c:v>
                </c:pt>
                <c:pt idx="298">
                  <c:v>-0.18176176931136034</c:v>
                </c:pt>
                <c:pt idx="299">
                  <c:v>-0.18176176931136034</c:v>
                </c:pt>
                <c:pt idx="300">
                  <c:v>-0.18176176931136034</c:v>
                </c:pt>
                <c:pt idx="301">
                  <c:v>-0.18176176931136034</c:v>
                </c:pt>
                <c:pt idx="302">
                  <c:v>-0.1859265565637389</c:v>
                </c:pt>
                <c:pt idx="303">
                  <c:v>-0.18476434285685717</c:v>
                </c:pt>
                <c:pt idx="304">
                  <c:v>-0.1717856799763703</c:v>
                </c:pt>
                <c:pt idx="305">
                  <c:v>-0.17236682575451168</c:v>
                </c:pt>
                <c:pt idx="306">
                  <c:v>-0.17236682575451168</c:v>
                </c:pt>
                <c:pt idx="307">
                  <c:v>-0.17236682575451168</c:v>
                </c:pt>
                <c:pt idx="308">
                  <c:v>-0.18408627457452498</c:v>
                </c:pt>
                <c:pt idx="309">
                  <c:v>-0.1891227415694151</c:v>
                </c:pt>
                <c:pt idx="310">
                  <c:v>-0.19241592692868303</c:v>
                </c:pt>
                <c:pt idx="311">
                  <c:v>-0.19793669504692446</c:v>
                </c:pt>
                <c:pt idx="312">
                  <c:v>-0.1842800417335061</c:v>
                </c:pt>
                <c:pt idx="313">
                  <c:v>-0.1842800417335061</c:v>
                </c:pt>
                <c:pt idx="314">
                  <c:v>-0.1842800417335061</c:v>
                </c:pt>
                <c:pt idx="315">
                  <c:v>-0.1865077023418804</c:v>
                </c:pt>
                <c:pt idx="316">
                  <c:v>-0.16587745538956777</c:v>
                </c:pt>
                <c:pt idx="317">
                  <c:v>-0.16326226046323122</c:v>
                </c:pt>
                <c:pt idx="318">
                  <c:v>-0.15473907449829494</c:v>
                </c:pt>
                <c:pt idx="319">
                  <c:v>-0.16190627959736836</c:v>
                </c:pt>
                <c:pt idx="320">
                  <c:v>-0.16190627959736836</c:v>
                </c:pt>
                <c:pt idx="321">
                  <c:v>-0.16190627959736836</c:v>
                </c:pt>
                <c:pt idx="322">
                  <c:v>-0.15929124036983378</c:v>
                </c:pt>
                <c:pt idx="323">
                  <c:v>-0.16946101901440402</c:v>
                </c:pt>
                <c:pt idx="324">
                  <c:v>-0.14912122817706064</c:v>
                </c:pt>
                <c:pt idx="325">
                  <c:v>-0.14098542083128462</c:v>
                </c:pt>
                <c:pt idx="326">
                  <c:v>-0.1300408070989928</c:v>
                </c:pt>
                <c:pt idx="327">
                  <c:v>-0.1300408070989928</c:v>
                </c:pt>
                <c:pt idx="328">
                  <c:v>-0.1300408070989928</c:v>
                </c:pt>
                <c:pt idx="329">
                  <c:v>-0.1328496134855085</c:v>
                </c:pt>
                <c:pt idx="330">
                  <c:v>-0.1396295178148227</c:v>
                </c:pt>
                <c:pt idx="331">
                  <c:v>-0.128587825879538</c:v>
                </c:pt>
                <c:pt idx="332">
                  <c:v>-0.1272320785618779</c:v>
                </c:pt>
                <c:pt idx="333">
                  <c:v>-0.12994380674540074</c:v>
                </c:pt>
                <c:pt idx="334">
                  <c:v>-0.12994380674540074</c:v>
                </c:pt>
                <c:pt idx="335">
                  <c:v>-0.12994380674540074</c:v>
                </c:pt>
                <c:pt idx="336">
                  <c:v>-0.1295565059756415</c:v>
                </c:pt>
                <c:pt idx="337">
                  <c:v>-0.13372121537861914</c:v>
                </c:pt>
                <c:pt idx="338">
                  <c:v>-0.11560924084845192</c:v>
                </c:pt>
                <c:pt idx="339">
                  <c:v>-0.11483448361013138</c:v>
                </c:pt>
                <c:pt idx="340">
                  <c:v>-0.102630500118564</c:v>
                </c:pt>
                <c:pt idx="341">
                  <c:v>-0.102630500118564</c:v>
                </c:pt>
                <c:pt idx="342">
                  <c:v>-0.102630500118564</c:v>
                </c:pt>
                <c:pt idx="343">
                  <c:v>-0.10282418942814409</c:v>
                </c:pt>
                <c:pt idx="344">
                  <c:v>-0.1021461989952126</c:v>
                </c:pt>
                <c:pt idx="345">
                  <c:v>-0.10863564720955754</c:v>
                </c:pt>
                <c:pt idx="346">
                  <c:v>-0.10892610332452679</c:v>
                </c:pt>
                <c:pt idx="347">
                  <c:v>-0.12083947500232306</c:v>
                </c:pt>
                <c:pt idx="348">
                  <c:v>-0.12083947500232306</c:v>
                </c:pt>
                <c:pt idx="349">
                  <c:v>-0.12083947500232306</c:v>
                </c:pt>
                <c:pt idx="350">
                  <c:v>-0.13740177935704734</c:v>
                </c:pt>
                <c:pt idx="351">
                  <c:v>-0.13749862401183743</c:v>
                </c:pt>
                <c:pt idx="352">
                  <c:v>-0.13527104125286404</c:v>
                </c:pt>
                <c:pt idx="353">
                  <c:v>-0.1224859898325561</c:v>
                </c:pt>
                <c:pt idx="354">
                  <c:v>-0.14863716060191212</c:v>
                </c:pt>
                <c:pt idx="355">
                  <c:v>-0.14863716060191212</c:v>
                </c:pt>
                <c:pt idx="356">
                  <c:v>-0.14863716060191212</c:v>
                </c:pt>
                <c:pt idx="357">
                  <c:v>-0.1538672390569814</c:v>
                </c:pt>
                <c:pt idx="358">
                  <c:v>-0.16258427003029985</c:v>
                </c:pt>
                <c:pt idx="359">
                  <c:v>-0.16800819349375118</c:v>
                </c:pt>
                <c:pt idx="360">
                  <c:v>-0.17004224264194645</c:v>
                </c:pt>
                <c:pt idx="361">
                  <c:v>-0.1772095255904209</c:v>
                </c:pt>
                <c:pt idx="362">
                  <c:v>-0.1772095255904209</c:v>
                </c:pt>
                <c:pt idx="363">
                  <c:v>-0.1772095255904209</c:v>
                </c:pt>
                <c:pt idx="364">
                  <c:v>-0.1772095255904209</c:v>
                </c:pt>
                <c:pt idx="365">
                  <c:v>-0.18176176931136068</c:v>
                </c:pt>
                <c:pt idx="366">
                  <c:v>-0.16955801936799608</c:v>
                </c:pt>
                <c:pt idx="367">
                  <c:v>-0.16568376607998758</c:v>
                </c:pt>
                <c:pt idx="368">
                  <c:v>-0.15028367543214505</c:v>
                </c:pt>
                <c:pt idx="369">
                  <c:v>-0.15028367543214505</c:v>
                </c:pt>
                <c:pt idx="370">
                  <c:v>-0.15028367543214505</c:v>
                </c:pt>
                <c:pt idx="371">
                  <c:v>-0.13982328497380359</c:v>
                </c:pt>
                <c:pt idx="372">
                  <c:v>-0.17381949557636267</c:v>
                </c:pt>
                <c:pt idx="373">
                  <c:v>-0.17052638806649567</c:v>
                </c:pt>
                <c:pt idx="374">
                  <c:v>-0.17914665223442494</c:v>
                </c:pt>
                <c:pt idx="375">
                  <c:v>-0.1865077023418804</c:v>
                </c:pt>
                <c:pt idx="376">
                  <c:v>-0.1865077023418804</c:v>
                </c:pt>
                <c:pt idx="377">
                  <c:v>-0.1865077023418804</c:v>
                </c:pt>
                <c:pt idx="378">
                  <c:v>-0.18118062353321907</c:v>
                </c:pt>
                <c:pt idx="379">
                  <c:v>-0.19125371322180118</c:v>
                </c:pt>
                <c:pt idx="380">
                  <c:v>-0.20452298791605938</c:v>
                </c:pt>
                <c:pt idx="381">
                  <c:v>-0.21043113465346108</c:v>
                </c:pt>
                <c:pt idx="382">
                  <c:v>-0.22699351685758629</c:v>
                </c:pt>
                <c:pt idx="383">
                  <c:v>-0.22699351685758629</c:v>
                </c:pt>
                <c:pt idx="384">
                  <c:v>-0.22699351685758629</c:v>
                </c:pt>
                <c:pt idx="385">
                  <c:v>-0.2361948489542559</c:v>
                </c:pt>
                <c:pt idx="386">
                  <c:v>-0.2387129656775996</c:v>
                </c:pt>
                <c:pt idx="387">
                  <c:v>-0.22311934141897882</c:v>
                </c:pt>
                <c:pt idx="388">
                  <c:v>-0.23774451912969896</c:v>
                </c:pt>
                <c:pt idx="389">
                  <c:v>-0.24617086043984526</c:v>
                </c:pt>
                <c:pt idx="390">
                  <c:v>-0.24617086043984526</c:v>
                </c:pt>
                <c:pt idx="391">
                  <c:v>-0.24617086043984526</c:v>
                </c:pt>
                <c:pt idx="392">
                  <c:v>-0.2282524973698573</c:v>
                </c:pt>
                <c:pt idx="393">
                  <c:v>-0.20190779298972306</c:v>
                </c:pt>
                <c:pt idx="394">
                  <c:v>-0.20549143446396034</c:v>
                </c:pt>
                <c:pt idx="395">
                  <c:v>-0.21469276656063008</c:v>
                </c:pt>
                <c:pt idx="396">
                  <c:v>-0.23464502308001134</c:v>
                </c:pt>
                <c:pt idx="397">
                  <c:v>-0.23464502308001134</c:v>
                </c:pt>
                <c:pt idx="398">
                  <c:v>-0.23464502308001134</c:v>
                </c:pt>
                <c:pt idx="399">
                  <c:v>-0.24074693697639415</c:v>
                </c:pt>
                <c:pt idx="400">
                  <c:v>-0.24713946268654807</c:v>
                </c:pt>
                <c:pt idx="401">
                  <c:v>-0.2491734339853423</c:v>
                </c:pt>
                <c:pt idx="402">
                  <c:v>-0.23222367316205683</c:v>
                </c:pt>
                <c:pt idx="403">
                  <c:v>-0.24849552140181186</c:v>
                </c:pt>
                <c:pt idx="404">
                  <c:v>-0.24849552140181186</c:v>
                </c:pt>
                <c:pt idx="405">
                  <c:v>-0.24849552140181186</c:v>
                </c:pt>
                <c:pt idx="406">
                  <c:v>-0.22902748815638097</c:v>
                </c:pt>
                <c:pt idx="407">
                  <c:v>-0.22176328270371548</c:v>
                </c:pt>
                <c:pt idx="408">
                  <c:v>-0.22970540073991141</c:v>
                </c:pt>
                <c:pt idx="409">
                  <c:v>-0.23338588686893869</c:v>
                </c:pt>
                <c:pt idx="410">
                  <c:v>-0.2171141943279855</c:v>
                </c:pt>
                <c:pt idx="411">
                  <c:v>-0.2171141943279855</c:v>
                </c:pt>
                <c:pt idx="412">
                  <c:v>-0.2171141943279855</c:v>
                </c:pt>
                <c:pt idx="413">
                  <c:v>-0.2147896890648211</c:v>
                </c:pt>
                <c:pt idx="414">
                  <c:v>-0.20093926859242162</c:v>
                </c:pt>
                <c:pt idx="415">
                  <c:v>-0.20084226823882967</c:v>
                </c:pt>
                <c:pt idx="416">
                  <c:v>-0.20568520162294157</c:v>
                </c:pt>
                <c:pt idx="417">
                  <c:v>-0.19299707270682465</c:v>
                </c:pt>
                <c:pt idx="418">
                  <c:v>-0.19299707270682465</c:v>
                </c:pt>
                <c:pt idx="419">
                  <c:v>-0.19299707270682465</c:v>
                </c:pt>
                <c:pt idx="420">
                  <c:v>-0.19832415151548588</c:v>
                </c:pt>
                <c:pt idx="421">
                  <c:v>-0.19754939427716534</c:v>
                </c:pt>
                <c:pt idx="422">
                  <c:v>-0.21401485397709952</c:v>
                </c:pt>
                <c:pt idx="423">
                  <c:v>-0.2208916029612038</c:v>
                </c:pt>
                <c:pt idx="424">
                  <c:v>-0.20258570557325362</c:v>
                </c:pt>
                <c:pt idx="425">
                  <c:v>-0.20258570557325362</c:v>
                </c:pt>
                <c:pt idx="426">
                  <c:v>-0.20258570557325362</c:v>
                </c:pt>
                <c:pt idx="427">
                  <c:v>-0.19754939427716545</c:v>
                </c:pt>
                <c:pt idx="428">
                  <c:v>-0.1919314701065301</c:v>
                </c:pt>
                <c:pt idx="429">
                  <c:v>-0.20684733748042228</c:v>
                </c:pt>
                <c:pt idx="430">
                  <c:v>-0.1643276295153231</c:v>
                </c:pt>
                <c:pt idx="431">
                  <c:v>-0.1516395784486072</c:v>
                </c:pt>
                <c:pt idx="432">
                  <c:v>-0.1516395784486072</c:v>
                </c:pt>
                <c:pt idx="433">
                  <c:v>-0.1516395784486072</c:v>
                </c:pt>
                <c:pt idx="434">
                  <c:v>-0.1592912403698339</c:v>
                </c:pt>
                <c:pt idx="435">
                  <c:v>-0.1511552773252558</c:v>
                </c:pt>
                <c:pt idx="436">
                  <c:v>-0.15754780303540972</c:v>
                </c:pt>
                <c:pt idx="437">
                  <c:v>-0.15958193003300591</c:v>
                </c:pt>
                <c:pt idx="438">
                  <c:v>-0.15793518165457</c:v>
                </c:pt>
                <c:pt idx="439">
                  <c:v>-0.15793518165457</c:v>
                </c:pt>
                <c:pt idx="440">
                  <c:v>-0.15793518165457</c:v>
                </c:pt>
                <c:pt idx="441">
                  <c:v>-0.16258427003029985</c:v>
                </c:pt>
                <c:pt idx="442">
                  <c:v>-0.1521238795719584</c:v>
                </c:pt>
                <c:pt idx="443">
                  <c:v>-0.14553758670282346</c:v>
                </c:pt>
                <c:pt idx="444">
                  <c:v>-0.14553758670282346</c:v>
                </c:pt>
                <c:pt idx="445">
                  <c:v>-0.144859674119293</c:v>
                </c:pt>
                <c:pt idx="446">
                  <c:v>-0.144859674119293</c:v>
                </c:pt>
                <c:pt idx="447">
                  <c:v>-0.144859674119293</c:v>
                </c:pt>
                <c:pt idx="448">
                  <c:v>-0.15725726907103965</c:v>
                </c:pt>
                <c:pt idx="449">
                  <c:v>-0.15551375388721456</c:v>
                </c:pt>
                <c:pt idx="450">
                  <c:v>-0.1314935547702447</c:v>
                </c:pt>
                <c:pt idx="451">
                  <c:v>-0.1302343407097709</c:v>
                </c:pt>
                <c:pt idx="452">
                  <c:v>-0.13100933149629435</c:v>
                </c:pt>
                <c:pt idx="453">
                  <c:v>-0.13100933149629435</c:v>
                </c:pt>
                <c:pt idx="454">
                  <c:v>-0.13100933149629435</c:v>
                </c:pt>
                <c:pt idx="455">
                  <c:v>-0.1458282763659955</c:v>
                </c:pt>
                <c:pt idx="456">
                  <c:v>-0.15493276380787502</c:v>
                </c:pt>
                <c:pt idx="457">
                  <c:v>-0.15648235613391703</c:v>
                </c:pt>
                <c:pt idx="458">
                  <c:v>-0.14999298576897302</c:v>
                </c:pt>
                <c:pt idx="459">
                  <c:v>-0.15406100621596253</c:v>
                </c:pt>
                <c:pt idx="460">
                  <c:v>-0.15406100621596253</c:v>
                </c:pt>
                <c:pt idx="461">
                  <c:v>-0.15406100621596253</c:v>
                </c:pt>
                <c:pt idx="462">
                  <c:v>-0.14650626679892687</c:v>
                </c:pt>
                <c:pt idx="463">
                  <c:v>-0.13863919558525306</c:v>
                </c:pt>
                <c:pt idx="464">
                  <c:v>-0.1419578376986338</c:v>
                </c:pt>
                <c:pt idx="465">
                  <c:v>-0.16304054536930657</c:v>
                </c:pt>
                <c:pt idx="466">
                  <c:v>-0.17114163188225595</c:v>
                </c:pt>
                <c:pt idx="467">
                  <c:v>-0.17114163188225595</c:v>
                </c:pt>
                <c:pt idx="468">
                  <c:v>-0.17114163188225595</c:v>
                </c:pt>
                <c:pt idx="469">
                  <c:v>-0.1762171014270254</c:v>
                </c:pt>
                <c:pt idx="470">
                  <c:v>-0.17436265084683722</c:v>
                </c:pt>
                <c:pt idx="471">
                  <c:v>-0.16352858326390385</c:v>
                </c:pt>
                <c:pt idx="472">
                  <c:v>-0.1735817435058411</c:v>
                </c:pt>
                <c:pt idx="473">
                  <c:v>-0.16977521919666505</c:v>
                </c:pt>
                <c:pt idx="474">
                  <c:v>-0.16977521919666505</c:v>
                </c:pt>
                <c:pt idx="475">
                  <c:v>-0.16977521919666505</c:v>
                </c:pt>
                <c:pt idx="476">
                  <c:v>-0.16977521919666505</c:v>
                </c:pt>
                <c:pt idx="477">
                  <c:v>-0.17006801079366296</c:v>
                </c:pt>
                <c:pt idx="478">
                  <c:v>-0.18080453307719768</c:v>
                </c:pt>
                <c:pt idx="479">
                  <c:v>-0.16655412238268297</c:v>
                </c:pt>
                <c:pt idx="480">
                  <c:v>-0.17153212447745458</c:v>
                </c:pt>
                <c:pt idx="481">
                  <c:v>-0.17153212447745458</c:v>
                </c:pt>
                <c:pt idx="482">
                  <c:v>-0.17153212447745458</c:v>
                </c:pt>
                <c:pt idx="483">
                  <c:v>-0.17153212447745458</c:v>
                </c:pt>
                <c:pt idx="484">
                  <c:v>-0.1713368003304544</c:v>
                </c:pt>
                <c:pt idx="485">
                  <c:v>-0.16079552434451894</c:v>
                </c:pt>
                <c:pt idx="486">
                  <c:v>-0.16938480445086745</c:v>
                </c:pt>
                <c:pt idx="487">
                  <c:v>-0.1501566252097838</c:v>
                </c:pt>
                <c:pt idx="488">
                  <c:v>-0.1501566252097838</c:v>
                </c:pt>
                <c:pt idx="489">
                  <c:v>-0.1501566252097838</c:v>
                </c:pt>
                <c:pt idx="490">
                  <c:v>-0.14830209678019457</c:v>
                </c:pt>
                <c:pt idx="491">
                  <c:v>-0.14351941883242314</c:v>
                </c:pt>
                <c:pt idx="492">
                  <c:v>-0.134539879679079</c:v>
                </c:pt>
                <c:pt idx="493">
                  <c:v>-0.1284883343451152</c:v>
                </c:pt>
                <c:pt idx="494">
                  <c:v>-0.12458426473654038</c:v>
                </c:pt>
                <c:pt idx="495">
                  <c:v>-0.12458426473654038</c:v>
                </c:pt>
                <c:pt idx="496">
                  <c:v>-0.12458426473654038</c:v>
                </c:pt>
                <c:pt idx="497">
                  <c:v>-0.12458426473654038</c:v>
                </c:pt>
                <c:pt idx="498">
                  <c:v>-0.12516992577993713</c:v>
                </c:pt>
                <c:pt idx="499">
                  <c:v>-0.1347350481272772</c:v>
                </c:pt>
                <c:pt idx="500">
                  <c:v>-0.1381512355400567</c:v>
                </c:pt>
                <c:pt idx="501">
                  <c:v>-0.12477943318473861</c:v>
                </c:pt>
                <c:pt idx="502">
                  <c:v>-0.12477943318473861</c:v>
                </c:pt>
                <c:pt idx="503">
                  <c:v>-0.12477943318473861</c:v>
                </c:pt>
                <c:pt idx="504">
                  <c:v>-0.1170686835681859</c:v>
                </c:pt>
                <c:pt idx="505">
                  <c:v>-0.1182400056549795</c:v>
                </c:pt>
                <c:pt idx="506">
                  <c:v>-0.11619030877719205</c:v>
                </c:pt>
                <c:pt idx="507">
                  <c:v>-0.10867464975943664</c:v>
                </c:pt>
                <c:pt idx="508">
                  <c:v>-0.10818653401543854</c:v>
                </c:pt>
                <c:pt idx="509">
                  <c:v>-0.10818653401543854</c:v>
                </c:pt>
                <c:pt idx="510">
                  <c:v>-0.10818653401543854</c:v>
                </c:pt>
                <c:pt idx="511">
                  <c:v>-0.11892313414837419</c:v>
                </c:pt>
                <c:pt idx="512">
                  <c:v>-0.10935785610223225</c:v>
                </c:pt>
                <c:pt idx="513">
                  <c:v>-0.1002806938000883</c:v>
                </c:pt>
                <c:pt idx="514">
                  <c:v>-0.09296043677873411</c:v>
                </c:pt>
                <c:pt idx="515">
                  <c:v>-0.10340408961586989</c:v>
                </c:pt>
                <c:pt idx="516">
                  <c:v>-0.10340408961586989</c:v>
                </c:pt>
                <c:pt idx="517">
                  <c:v>-0.10340408961586989</c:v>
                </c:pt>
                <c:pt idx="518">
                  <c:v>-0.11082196978602388</c:v>
                </c:pt>
                <c:pt idx="519">
                  <c:v>-0.10135439273808244</c:v>
                </c:pt>
                <c:pt idx="520">
                  <c:v>-0.10906506450523423</c:v>
                </c:pt>
                <c:pt idx="521">
                  <c:v>-0.1129692898126109</c:v>
                </c:pt>
                <c:pt idx="522">
                  <c:v>-0.11375011930420598</c:v>
                </c:pt>
                <c:pt idx="523">
                  <c:v>-0.11375011930420598</c:v>
                </c:pt>
                <c:pt idx="524">
                  <c:v>-0.11375011930420598</c:v>
                </c:pt>
                <c:pt idx="525">
                  <c:v>-0.10438000970626238</c:v>
                </c:pt>
                <c:pt idx="526">
                  <c:v>-0.10389204966106624</c:v>
                </c:pt>
                <c:pt idx="527">
                  <c:v>-0.10330638861766928</c:v>
                </c:pt>
                <c:pt idx="528">
                  <c:v>-0.11238370661861496</c:v>
                </c:pt>
                <c:pt idx="529">
                  <c:v>-0.11462857194460074</c:v>
                </c:pt>
                <c:pt idx="530">
                  <c:v>-0.11462857194460074</c:v>
                </c:pt>
                <c:pt idx="531">
                  <c:v>-0.11462857194460074</c:v>
                </c:pt>
                <c:pt idx="532">
                  <c:v>-0.11462857194460074</c:v>
                </c:pt>
                <c:pt idx="533">
                  <c:v>-0.12975720173130745</c:v>
                </c:pt>
                <c:pt idx="534">
                  <c:v>-0.13209976805549384</c:v>
                </c:pt>
                <c:pt idx="535">
                  <c:v>-0.1279028290005202</c:v>
                </c:pt>
                <c:pt idx="536">
                  <c:v>-0.13951764822564772</c:v>
                </c:pt>
                <c:pt idx="537">
                  <c:v>-0.13951764822564772</c:v>
                </c:pt>
                <c:pt idx="538">
                  <c:v>-0.13951764822564772</c:v>
                </c:pt>
                <c:pt idx="539">
                  <c:v>-0.13444233437968023</c:v>
                </c:pt>
                <c:pt idx="540">
                  <c:v>-0.13893214288105282</c:v>
                </c:pt>
                <c:pt idx="541">
                  <c:v>-0.1370776144514636</c:v>
                </c:pt>
                <c:pt idx="542">
                  <c:v>-0.13239255965249175</c:v>
                </c:pt>
                <c:pt idx="543">
                  <c:v>-0.11931354889417156</c:v>
                </c:pt>
                <c:pt idx="544">
                  <c:v>-0.11931354889417156</c:v>
                </c:pt>
                <c:pt idx="545">
                  <c:v>-0.11931354889417156</c:v>
                </c:pt>
                <c:pt idx="546">
                  <c:v>-0.11989928778696934</c:v>
                </c:pt>
                <c:pt idx="547">
                  <c:v>-0.13375905018748369</c:v>
                </c:pt>
                <c:pt idx="548">
                  <c:v>-0.13190452175789436</c:v>
                </c:pt>
                <c:pt idx="549">
                  <c:v>-0.1458619851566092</c:v>
                </c:pt>
                <c:pt idx="550">
                  <c:v>-0.15708662318414202</c:v>
                </c:pt>
                <c:pt idx="551">
                  <c:v>-0.15708662318414202</c:v>
                </c:pt>
                <c:pt idx="552">
                  <c:v>-0.15708662318414202</c:v>
                </c:pt>
                <c:pt idx="553">
                  <c:v>-0.1592338653613281</c:v>
                </c:pt>
                <c:pt idx="554">
                  <c:v>-0.14761889043739862</c:v>
                </c:pt>
                <c:pt idx="555">
                  <c:v>-0.1594291895083283</c:v>
                </c:pt>
                <c:pt idx="556">
                  <c:v>-0.14576451770661136</c:v>
                </c:pt>
                <c:pt idx="557">
                  <c:v>-0.15503692630635446</c:v>
                </c:pt>
                <c:pt idx="558">
                  <c:v>-0.15503692630635446</c:v>
                </c:pt>
                <c:pt idx="559">
                  <c:v>-0.15503692630635446</c:v>
                </c:pt>
                <c:pt idx="560">
                  <c:v>-0.1468379830964026</c:v>
                </c:pt>
                <c:pt idx="561">
                  <c:v>-0.13551603331767392</c:v>
                </c:pt>
                <c:pt idx="562">
                  <c:v>-0.14478836406801598</c:v>
                </c:pt>
                <c:pt idx="563">
                  <c:v>-0.1425434987420302</c:v>
                </c:pt>
                <c:pt idx="564">
                  <c:v>-0.14049380186424276</c:v>
                </c:pt>
                <c:pt idx="565">
                  <c:v>-0.14049380186424276</c:v>
                </c:pt>
                <c:pt idx="566">
                  <c:v>-0.14049380186424276</c:v>
                </c:pt>
                <c:pt idx="567">
                  <c:v>-0.13746795134785994</c:v>
                </c:pt>
                <c:pt idx="568">
                  <c:v>-0.13668727755506682</c:v>
                </c:pt>
                <c:pt idx="569">
                  <c:v>-0.1261458458703295</c:v>
                </c:pt>
                <c:pt idx="570">
                  <c:v>-0.11902075729717365</c:v>
                </c:pt>
                <c:pt idx="571">
                  <c:v>-0.1102363087426268</c:v>
                </c:pt>
                <c:pt idx="572">
                  <c:v>-0.1102363087426268</c:v>
                </c:pt>
                <c:pt idx="573">
                  <c:v>-0.1102363087426268</c:v>
                </c:pt>
                <c:pt idx="574">
                  <c:v>-0.10506337174785962</c:v>
                </c:pt>
                <c:pt idx="575">
                  <c:v>-0.10818653401543832</c:v>
                </c:pt>
                <c:pt idx="576">
                  <c:v>-0.11277404351501152</c:v>
                </c:pt>
                <c:pt idx="577">
                  <c:v>-0.10926023295343246</c:v>
                </c:pt>
                <c:pt idx="578">
                  <c:v>-0.10926023295343246</c:v>
                </c:pt>
                <c:pt idx="579">
                  <c:v>-0.10926023295343246</c:v>
                </c:pt>
                <c:pt idx="580">
                  <c:v>-0.10926023295343246</c:v>
                </c:pt>
                <c:pt idx="581">
                  <c:v>-0.10867464975943653</c:v>
                </c:pt>
                <c:pt idx="582">
                  <c:v>-0.10691774447864688</c:v>
                </c:pt>
                <c:pt idx="583">
                  <c:v>-0.1083818581624385</c:v>
                </c:pt>
                <c:pt idx="584">
                  <c:v>-0.0964740916415111</c:v>
                </c:pt>
                <c:pt idx="585">
                  <c:v>-0.09910937171329448</c:v>
                </c:pt>
                <c:pt idx="586">
                  <c:v>-0.09910937171329448</c:v>
                </c:pt>
                <c:pt idx="587">
                  <c:v>-0.09910937171329448</c:v>
                </c:pt>
                <c:pt idx="588">
                  <c:v>-0.09745016743070556</c:v>
                </c:pt>
                <c:pt idx="589">
                  <c:v>-0.0957908852987156</c:v>
                </c:pt>
                <c:pt idx="590">
                  <c:v>-0.0976453358789039</c:v>
                </c:pt>
                <c:pt idx="591">
                  <c:v>-0.1009639001428837</c:v>
                </c:pt>
                <c:pt idx="592">
                  <c:v>-0.10037831694888788</c:v>
                </c:pt>
                <c:pt idx="593">
                  <c:v>-0.10037831694888788</c:v>
                </c:pt>
                <c:pt idx="594">
                  <c:v>-0.10037831694888788</c:v>
                </c:pt>
                <c:pt idx="595">
                  <c:v>-0.09998790220309028</c:v>
                </c:pt>
                <c:pt idx="596">
                  <c:v>-0.11443340349640241</c:v>
                </c:pt>
                <c:pt idx="597">
                  <c:v>-0.11667819097298726</c:v>
                </c:pt>
                <c:pt idx="598">
                  <c:v>-0.10154956118628056</c:v>
                </c:pt>
                <c:pt idx="599">
                  <c:v>-0.0962790010427137</c:v>
                </c:pt>
                <c:pt idx="600">
                  <c:v>-0.0962790010427137</c:v>
                </c:pt>
                <c:pt idx="601">
                  <c:v>-0.0962790010427137</c:v>
                </c:pt>
                <c:pt idx="602">
                  <c:v>-0.09745016743070545</c:v>
                </c:pt>
                <c:pt idx="603">
                  <c:v>-0.10760102867084331</c:v>
                </c:pt>
                <c:pt idx="604">
                  <c:v>-0.11082196978602354</c:v>
                </c:pt>
                <c:pt idx="605">
                  <c:v>-0.1140429887506047</c:v>
                </c:pt>
                <c:pt idx="606">
                  <c:v>-0.09901190426329676</c:v>
                </c:pt>
                <c:pt idx="607">
                  <c:v>-0.09901190426329676</c:v>
                </c:pt>
                <c:pt idx="608">
                  <c:v>-0.09901190426329676</c:v>
                </c:pt>
                <c:pt idx="609">
                  <c:v>-0.09862141166809824</c:v>
                </c:pt>
                <c:pt idx="610">
                  <c:v>-0.10242801382667532</c:v>
                </c:pt>
                <c:pt idx="611">
                  <c:v>-0.10018307065128862</c:v>
                </c:pt>
                <c:pt idx="612">
                  <c:v>-0.10242801382667532</c:v>
                </c:pt>
                <c:pt idx="613">
                  <c:v>-0.10496574859906005</c:v>
                </c:pt>
                <c:pt idx="614">
                  <c:v>-0.10496574859906005</c:v>
                </c:pt>
                <c:pt idx="615">
                  <c:v>-0.10496574859906005</c:v>
                </c:pt>
                <c:pt idx="616">
                  <c:v>-0.0988166579656975</c:v>
                </c:pt>
                <c:pt idx="617">
                  <c:v>-0.10603944753705408</c:v>
                </c:pt>
                <c:pt idx="618">
                  <c:v>-0.0976453358789039</c:v>
                </c:pt>
                <c:pt idx="619">
                  <c:v>-0.09315544952813037</c:v>
                </c:pt>
                <c:pt idx="620">
                  <c:v>-0.09256994418353548</c:v>
                </c:pt>
                <c:pt idx="621">
                  <c:v>-0.09256994418353548</c:v>
                </c:pt>
                <c:pt idx="622">
                  <c:v>-0.09256994418353548</c:v>
                </c:pt>
                <c:pt idx="623">
                  <c:v>-0.09120345364854354</c:v>
                </c:pt>
                <c:pt idx="624">
                  <c:v>-0.10262318227487377</c:v>
                </c:pt>
                <c:pt idx="625">
                  <c:v>-0.11091967078422438</c:v>
                </c:pt>
                <c:pt idx="626">
                  <c:v>-0.10730831492324655</c:v>
                </c:pt>
                <c:pt idx="627">
                  <c:v>-0.09559556115171564</c:v>
                </c:pt>
                <c:pt idx="628">
                  <c:v>-0.09559556115171564</c:v>
                </c:pt>
                <c:pt idx="629">
                  <c:v>-0.09559556115171564</c:v>
                </c:pt>
                <c:pt idx="630">
                  <c:v>-0.09559556115171564</c:v>
                </c:pt>
                <c:pt idx="631">
                  <c:v>-0.099304695860295</c:v>
                </c:pt>
                <c:pt idx="632">
                  <c:v>-0.10574650024125443</c:v>
                </c:pt>
                <c:pt idx="633">
                  <c:v>-0.09510767895592032</c:v>
                </c:pt>
                <c:pt idx="634">
                  <c:v>-0.08163825345180264</c:v>
                </c:pt>
                <c:pt idx="635">
                  <c:v>-0.08163825345180264</c:v>
                </c:pt>
                <c:pt idx="636">
                  <c:v>-0.08163825345180264</c:v>
                </c:pt>
                <c:pt idx="637">
                  <c:v>-0.08407836507538768</c:v>
                </c:pt>
                <c:pt idx="638">
                  <c:v>-0.07968610187341374</c:v>
                </c:pt>
                <c:pt idx="639">
                  <c:v>-0.08458664381423353</c:v>
                </c:pt>
                <c:pt idx="640">
                  <c:v>-0.07798026579965178</c:v>
                </c:pt>
                <c:pt idx="641">
                  <c:v>-0.07669855326230157</c:v>
                </c:pt>
                <c:pt idx="642">
                  <c:v>-0.07669855326230157</c:v>
                </c:pt>
                <c:pt idx="643">
                  <c:v>-0.07669855326230157</c:v>
                </c:pt>
                <c:pt idx="644">
                  <c:v>-0.06999369575550951</c:v>
                </c:pt>
                <c:pt idx="645">
                  <c:v>-0.06279574014305811</c:v>
                </c:pt>
                <c:pt idx="646">
                  <c:v>-0.06052798709319107</c:v>
                </c:pt>
                <c:pt idx="647">
                  <c:v>-0.0498789675363317</c:v>
                </c:pt>
                <c:pt idx="648">
                  <c:v>-0.05263981869185819</c:v>
                </c:pt>
                <c:pt idx="649">
                  <c:v>-0.05263981869185819</c:v>
                </c:pt>
                <c:pt idx="650">
                  <c:v>-0.05263981869185819</c:v>
                </c:pt>
                <c:pt idx="651">
                  <c:v>-0.05263981869185819</c:v>
                </c:pt>
                <c:pt idx="652">
                  <c:v>-0.061316757223683904</c:v>
                </c:pt>
                <c:pt idx="653">
                  <c:v>-0.06457055078606777</c:v>
                </c:pt>
                <c:pt idx="654">
                  <c:v>-0.06437328040404366</c:v>
                </c:pt>
                <c:pt idx="655">
                  <c:v>-0.07403633729778714</c:v>
                </c:pt>
                <c:pt idx="656">
                  <c:v>-0.07403633729778714</c:v>
                </c:pt>
                <c:pt idx="657">
                  <c:v>-0.07403633729778714</c:v>
                </c:pt>
                <c:pt idx="658">
                  <c:v>-0.07561387755877258</c:v>
                </c:pt>
                <c:pt idx="659">
                  <c:v>-0.06585234117281902</c:v>
                </c:pt>
                <c:pt idx="660">
                  <c:v>-0.06595097636383107</c:v>
                </c:pt>
                <c:pt idx="661">
                  <c:v>-0.06437328040404378</c:v>
                </c:pt>
                <c:pt idx="662">
                  <c:v>-0.05402016642022056</c:v>
                </c:pt>
                <c:pt idx="663">
                  <c:v>-0.05402016642022056</c:v>
                </c:pt>
                <c:pt idx="664">
                  <c:v>-0.05402016642022056</c:v>
                </c:pt>
                <c:pt idx="665">
                  <c:v>-0.051752335520952486</c:v>
                </c:pt>
                <c:pt idx="666">
                  <c:v>-0.051752335520952486</c:v>
                </c:pt>
                <c:pt idx="667">
                  <c:v>-0.056386710359901504</c:v>
                </c:pt>
                <c:pt idx="668">
                  <c:v>-0.06802161473047585</c:v>
                </c:pt>
                <c:pt idx="669">
                  <c:v>-0.06614816889645414</c:v>
                </c:pt>
                <c:pt idx="670">
                  <c:v>-0.06614816889645414</c:v>
                </c:pt>
                <c:pt idx="671">
                  <c:v>-0.06614816889645414</c:v>
                </c:pt>
                <c:pt idx="672">
                  <c:v>-0.06378178065557505</c:v>
                </c:pt>
                <c:pt idx="673">
                  <c:v>-0.05638671035990139</c:v>
                </c:pt>
                <c:pt idx="674">
                  <c:v>-0.045047478014160425</c:v>
                </c:pt>
                <c:pt idx="675">
                  <c:v>-0.03420142162347972</c:v>
                </c:pt>
                <c:pt idx="676">
                  <c:v>-0.03686355973859312</c:v>
                </c:pt>
                <c:pt idx="677">
                  <c:v>-0.03686355973859312</c:v>
                </c:pt>
                <c:pt idx="678">
                  <c:v>-0.03686355973859312</c:v>
                </c:pt>
                <c:pt idx="679">
                  <c:v>-0.03439861415610279</c:v>
                </c:pt>
                <c:pt idx="680">
                  <c:v>-0.028975547036061866</c:v>
                </c:pt>
                <c:pt idx="681">
                  <c:v>-0.027792313990921858</c:v>
                </c:pt>
                <c:pt idx="682">
                  <c:v>-0.03429997896509063</c:v>
                </c:pt>
                <c:pt idx="683">
                  <c:v>-0.033807114407634065</c:v>
                </c:pt>
                <c:pt idx="684">
                  <c:v>-0.033807114407634065</c:v>
                </c:pt>
                <c:pt idx="685">
                  <c:v>-0.033807114407634065</c:v>
                </c:pt>
                <c:pt idx="686">
                  <c:v>-0.030355972613824944</c:v>
                </c:pt>
                <c:pt idx="687">
                  <c:v>-0.027200658543651057</c:v>
                </c:pt>
                <c:pt idx="688">
                  <c:v>-0.025918946006300847</c:v>
                </c:pt>
                <c:pt idx="689">
                  <c:v>-0.03203214806582233</c:v>
                </c:pt>
                <c:pt idx="690">
                  <c:v>-0.021876304464023333</c:v>
                </c:pt>
                <c:pt idx="691">
                  <c:v>-0.021876304464023333</c:v>
                </c:pt>
                <c:pt idx="692">
                  <c:v>-0.021876304464023333</c:v>
                </c:pt>
                <c:pt idx="693">
                  <c:v>-0.02000285863000173</c:v>
                </c:pt>
                <c:pt idx="694">
                  <c:v>-0.026806351327805733</c:v>
                </c:pt>
                <c:pt idx="695">
                  <c:v>-0.04287828230590407</c:v>
                </c:pt>
                <c:pt idx="696">
                  <c:v>-0.04514619105457307</c:v>
                </c:pt>
                <c:pt idx="697">
                  <c:v>-0.047118116380804875</c:v>
                </c:pt>
                <c:pt idx="698">
                  <c:v>-0.047118116380804875</c:v>
                </c:pt>
                <c:pt idx="699">
                  <c:v>-0.047118116380804875</c:v>
                </c:pt>
                <c:pt idx="700">
                  <c:v>-0.04070908659764816</c:v>
                </c:pt>
                <c:pt idx="701">
                  <c:v>-0.0462307110593001</c:v>
                </c:pt>
                <c:pt idx="702">
                  <c:v>-0.05027343045097865</c:v>
                </c:pt>
                <c:pt idx="703">
                  <c:v>-0.04879436968220341</c:v>
                </c:pt>
                <c:pt idx="704">
                  <c:v>-0.05234399096822251</c:v>
                </c:pt>
                <c:pt idx="705">
                  <c:v>-0.05234399096822251</c:v>
                </c:pt>
                <c:pt idx="706">
                  <c:v>-0.05234399096822251</c:v>
                </c:pt>
                <c:pt idx="707">
                  <c:v>-0.05047062298360183</c:v>
                </c:pt>
                <c:pt idx="708">
                  <c:v>-0.06210552735417618</c:v>
                </c:pt>
                <c:pt idx="709">
                  <c:v>-0.06930348296662747</c:v>
                </c:pt>
                <c:pt idx="710">
                  <c:v>-0.07541668502614896</c:v>
                </c:pt>
                <c:pt idx="711">
                  <c:v>-0.07581099224199439</c:v>
                </c:pt>
                <c:pt idx="712">
                  <c:v>-0.07581099224199439</c:v>
                </c:pt>
                <c:pt idx="713">
                  <c:v>-0.07581099224199439</c:v>
                </c:pt>
                <c:pt idx="714">
                  <c:v>-0.07097958056922415</c:v>
                </c:pt>
                <c:pt idx="715">
                  <c:v>-0.07305021893586905</c:v>
                </c:pt>
                <c:pt idx="716">
                  <c:v>-0.06210552735417629</c:v>
                </c:pt>
                <c:pt idx="717">
                  <c:v>-0.07403633729778691</c:v>
                </c:pt>
                <c:pt idx="718">
                  <c:v>-0.068415999795722</c:v>
                </c:pt>
                <c:pt idx="719">
                  <c:v>-0.068415999795722</c:v>
                </c:pt>
                <c:pt idx="720">
                  <c:v>-0.068415999795722</c:v>
                </c:pt>
                <c:pt idx="721">
                  <c:v>-0.06121812203267163</c:v>
                </c:pt>
                <c:pt idx="722">
                  <c:v>-0.04790704221009978</c:v>
                </c:pt>
                <c:pt idx="723">
                  <c:v>-0.045540576119819653</c:v>
                </c:pt>
                <c:pt idx="724">
                  <c:v>-0.04849869765737025</c:v>
                </c:pt>
                <c:pt idx="725">
                  <c:v>-0.04583640384345489</c:v>
                </c:pt>
                <c:pt idx="726">
                  <c:v>-0.04583640384345489</c:v>
                </c:pt>
                <c:pt idx="727">
                  <c:v>-0.04583640384345489</c:v>
                </c:pt>
                <c:pt idx="728">
                  <c:v>-0.04583640384345489</c:v>
                </c:pt>
                <c:pt idx="729">
                  <c:v>-0.0513579504557059</c:v>
                </c:pt>
                <c:pt idx="730">
                  <c:v>-0.05687965276675877</c:v>
                </c:pt>
                <c:pt idx="731">
                  <c:v>-0.06042935190217891</c:v>
                </c:pt>
                <c:pt idx="732">
                  <c:v>-0.06003488898753162</c:v>
                </c:pt>
                <c:pt idx="733">
                  <c:v>-0.06003488898753162</c:v>
                </c:pt>
                <c:pt idx="734">
                  <c:v>-0.06003488898753162</c:v>
                </c:pt>
                <c:pt idx="735">
                  <c:v>-0.05194960590297648</c:v>
                </c:pt>
                <c:pt idx="736">
                  <c:v>-0.056485189852111484</c:v>
                </c:pt>
                <c:pt idx="737">
                  <c:v>-0.05618936212847636</c:v>
                </c:pt>
                <c:pt idx="738">
                  <c:v>-0.047512579295452606</c:v>
                </c:pt>
                <c:pt idx="739">
                  <c:v>-0.05520355516416242</c:v>
                </c:pt>
                <c:pt idx="740">
                  <c:v>-0.05520355516416242</c:v>
                </c:pt>
                <c:pt idx="741">
                  <c:v>-0.05520355516416242</c:v>
                </c:pt>
                <c:pt idx="742">
                  <c:v>-0.05618936212847636</c:v>
                </c:pt>
                <c:pt idx="743">
                  <c:v>-0.058260000495121256</c:v>
                </c:pt>
                <c:pt idx="744">
                  <c:v>-0.06437328040404366</c:v>
                </c:pt>
                <c:pt idx="745">
                  <c:v>-0.07985371163367339</c:v>
                </c:pt>
                <c:pt idx="746">
                  <c:v>-0.08044536708094385</c:v>
                </c:pt>
                <c:pt idx="747">
                  <c:v>-0.08044536708094385</c:v>
                </c:pt>
                <c:pt idx="748">
                  <c:v>-0.08044536708094385</c:v>
                </c:pt>
                <c:pt idx="749">
                  <c:v>-0.07926228973460558</c:v>
                </c:pt>
                <c:pt idx="750">
                  <c:v>-0.09267192689878856</c:v>
                </c:pt>
                <c:pt idx="751">
                  <c:v>-0.0922775418335422</c:v>
                </c:pt>
                <c:pt idx="752">
                  <c:v>-0.08665728218087809</c:v>
                </c:pt>
                <c:pt idx="753">
                  <c:v>-0.08922086295438048</c:v>
                </c:pt>
                <c:pt idx="754">
                  <c:v>-0.08922086295438048</c:v>
                </c:pt>
                <c:pt idx="755">
                  <c:v>-0.08922086295438048</c:v>
                </c:pt>
                <c:pt idx="756">
                  <c:v>-0.0932635044966581</c:v>
                </c:pt>
                <c:pt idx="757">
                  <c:v>-0.1053915069728919</c:v>
                </c:pt>
                <c:pt idx="758">
                  <c:v>-0.10154598011383653</c:v>
                </c:pt>
                <c:pt idx="759">
                  <c:v>-0.09927814921456857</c:v>
                </c:pt>
                <c:pt idx="760">
                  <c:v>-0.0881361872508517</c:v>
                </c:pt>
                <c:pt idx="761">
                  <c:v>-0.0881361872508517</c:v>
                </c:pt>
                <c:pt idx="762">
                  <c:v>-0.0881361872508517</c:v>
                </c:pt>
                <c:pt idx="763">
                  <c:v>-0.08488247153786865</c:v>
                </c:pt>
                <c:pt idx="764">
                  <c:v>-0.07719165136796069</c:v>
                </c:pt>
                <c:pt idx="765">
                  <c:v>-0.07295166159425792</c:v>
                </c:pt>
                <c:pt idx="766">
                  <c:v>-0.08005090416629623</c:v>
                </c:pt>
                <c:pt idx="767">
                  <c:v>-0.0852768566031149</c:v>
                </c:pt>
                <c:pt idx="768">
                  <c:v>-0.0852768566031149</c:v>
                </c:pt>
                <c:pt idx="769">
                  <c:v>-0.0852768566031149</c:v>
                </c:pt>
                <c:pt idx="770">
                  <c:v>-0.07689574579492442</c:v>
                </c:pt>
                <c:pt idx="771">
                  <c:v>-0.07650128288027702</c:v>
                </c:pt>
                <c:pt idx="772">
                  <c:v>-0.08971388321063878</c:v>
                </c:pt>
                <c:pt idx="773">
                  <c:v>-0.09789780148620608</c:v>
                </c:pt>
                <c:pt idx="774">
                  <c:v>-0.10864530053527566</c:v>
                </c:pt>
                <c:pt idx="775">
                  <c:v>-0.10864530053527566</c:v>
                </c:pt>
                <c:pt idx="776">
                  <c:v>-0.10864530053527566</c:v>
                </c:pt>
                <c:pt idx="777">
                  <c:v>-0.10933551332415736</c:v>
                </c:pt>
                <c:pt idx="778">
                  <c:v>-0.10282784834998848</c:v>
                </c:pt>
                <c:pt idx="779">
                  <c:v>-0.11426548233853873</c:v>
                </c:pt>
                <c:pt idx="780">
                  <c:v>-0.1233368059356108</c:v>
                </c:pt>
                <c:pt idx="781">
                  <c:v>-0.12649219785518562</c:v>
                </c:pt>
                <c:pt idx="782">
                  <c:v>-0.12649219785518562</c:v>
                </c:pt>
                <c:pt idx="783">
                  <c:v>-0.12649219785518562</c:v>
                </c:pt>
                <c:pt idx="784">
                  <c:v>-0.11633612070518373</c:v>
                </c:pt>
                <c:pt idx="785">
                  <c:v>-0.1123921922033192</c:v>
                </c:pt>
                <c:pt idx="786">
                  <c:v>-0.10351806113887041</c:v>
                </c:pt>
                <c:pt idx="787">
                  <c:v>-0.08576987685937354</c:v>
                </c:pt>
                <c:pt idx="788">
                  <c:v>-0.0752194146441253</c:v>
                </c:pt>
                <c:pt idx="789">
                  <c:v>-0.0752194146441253</c:v>
                </c:pt>
                <c:pt idx="790">
                  <c:v>-0.0752194146441253</c:v>
                </c:pt>
                <c:pt idx="791">
                  <c:v>-0.0744307223630335</c:v>
                </c:pt>
                <c:pt idx="792">
                  <c:v>-0.07492366476989099</c:v>
                </c:pt>
                <c:pt idx="793">
                  <c:v>-0.07512077945311313</c:v>
                </c:pt>
                <c:pt idx="794">
                  <c:v>-0.08064255961356692</c:v>
                </c:pt>
                <c:pt idx="795">
                  <c:v>-0.07009233094652156</c:v>
                </c:pt>
                <c:pt idx="796">
                  <c:v>-0.07009233094652156</c:v>
                </c:pt>
                <c:pt idx="797">
                  <c:v>-0.07009233094652156</c:v>
                </c:pt>
                <c:pt idx="798">
                  <c:v>-0.06989506056449757</c:v>
                </c:pt>
                <c:pt idx="799">
                  <c:v>-0.0495832176620975</c:v>
                </c:pt>
                <c:pt idx="800">
                  <c:v>-0.04761121448646477</c:v>
                </c:pt>
                <c:pt idx="801">
                  <c:v>-0.048301427275346476</c:v>
                </c:pt>
                <c:pt idx="802">
                  <c:v>-0.04406159320044578</c:v>
                </c:pt>
                <c:pt idx="803">
                  <c:v>-0.04406159320044578</c:v>
                </c:pt>
                <c:pt idx="804">
                  <c:v>-0.04406159320044578</c:v>
                </c:pt>
                <c:pt idx="805">
                  <c:v>-0.03735673569365383</c:v>
                </c:pt>
                <c:pt idx="806">
                  <c:v>-0.03992023861775518</c:v>
                </c:pt>
                <c:pt idx="807">
                  <c:v>-0.03725802265324074</c:v>
                </c:pt>
                <c:pt idx="808">
                  <c:v>-0.03725802265324074</c:v>
                </c:pt>
                <c:pt idx="809">
                  <c:v>-0.03489163441236154</c:v>
                </c:pt>
                <c:pt idx="810">
                  <c:v>-0.03489163441236154</c:v>
                </c:pt>
                <c:pt idx="811">
                  <c:v>-0.03489163441236154</c:v>
                </c:pt>
                <c:pt idx="812">
                  <c:v>-0.03745521518586392</c:v>
                </c:pt>
                <c:pt idx="813">
                  <c:v>-0.035877752774279514</c:v>
                </c:pt>
                <c:pt idx="814">
                  <c:v>-0.03597631011589064</c:v>
                </c:pt>
                <c:pt idx="815">
                  <c:v>-0.033511286683999386</c:v>
                </c:pt>
                <c:pt idx="816">
                  <c:v>-0.026313331071547985</c:v>
                </c:pt>
                <c:pt idx="817">
                  <c:v>-0.026313331071547985</c:v>
                </c:pt>
                <c:pt idx="818">
                  <c:v>-0.026313331071547985</c:v>
                </c:pt>
                <c:pt idx="819">
                  <c:v>-0.03232797578945834</c:v>
                </c:pt>
                <c:pt idx="820">
                  <c:v>-0.034201421623479944</c:v>
                </c:pt>
                <c:pt idx="821">
                  <c:v>-0.03607486745750155</c:v>
                </c:pt>
                <c:pt idx="822">
                  <c:v>-0.02986287450816605</c:v>
                </c:pt>
                <c:pt idx="823">
                  <c:v>-0.02670779398619505</c:v>
                </c:pt>
                <c:pt idx="824">
                  <c:v>-0.02670779398619505</c:v>
                </c:pt>
                <c:pt idx="825">
                  <c:v>-0.02670779398619505</c:v>
                </c:pt>
                <c:pt idx="826">
                  <c:v>-0.02325665219238604</c:v>
                </c:pt>
                <c:pt idx="827">
                  <c:v>-0.0201014159716133</c:v>
                </c:pt>
                <c:pt idx="828">
                  <c:v>-0.006593065767017237</c:v>
                </c:pt>
                <c:pt idx="829">
                  <c:v>-0.0001839581344595942</c:v>
                </c:pt>
                <c:pt idx="830">
                  <c:v>-0.0044238700587613256</c:v>
                </c:pt>
                <c:pt idx="831">
                  <c:v>-0.0044238700587613256</c:v>
                </c:pt>
                <c:pt idx="832">
                  <c:v>-0.0044238700587613256</c:v>
                </c:pt>
                <c:pt idx="833">
                  <c:v>1.3156548762660591e-05</c:v>
                </c:pt>
                <c:pt idx="834">
                  <c:v>0.007211190010614876</c:v>
                </c:pt>
                <c:pt idx="835">
                  <c:v>-0.006803959794208891</c:v>
                </c:pt>
                <c:pt idx="836">
                  <c:v>0.0056383985630878986</c:v>
                </c:pt>
                <c:pt idx="837">
                  <c:v>0.007131472224035429</c:v>
                </c:pt>
                <c:pt idx="838">
                  <c:v>0.007131472224035429</c:v>
                </c:pt>
                <c:pt idx="839">
                  <c:v>0.007131472224035429</c:v>
                </c:pt>
                <c:pt idx="840">
                  <c:v>0.007131472224035429</c:v>
                </c:pt>
                <c:pt idx="841">
                  <c:v>0.012008892892771073</c:v>
                </c:pt>
                <c:pt idx="842">
                  <c:v>0.014895470830842417</c:v>
                </c:pt>
                <c:pt idx="843">
                  <c:v>0.014895470830842417</c:v>
                </c:pt>
                <c:pt idx="844">
                  <c:v>0.013004197484001612</c:v>
                </c:pt>
                <c:pt idx="845">
                  <c:v>0.013004197484001612</c:v>
                </c:pt>
                <c:pt idx="846">
                  <c:v>0.013004197484001612</c:v>
                </c:pt>
                <c:pt idx="847">
                  <c:v>0.013004197484001612</c:v>
                </c:pt>
                <c:pt idx="848">
                  <c:v>0.004344385820386432</c:v>
                </c:pt>
                <c:pt idx="849">
                  <c:v>-0.0036187515540677673</c:v>
                </c:pt>
                <c:pt idx="850">
                  <c:v>-0.00471370337852306</c:v>
                </c:pt>
                <c:pt idx="851">
                  <c:v>-0.003817734622913127</c:v>
                </c:pt>
                <c:pt idx="852">
                  <c:v>-0.003817734622913127</c:v>
                </c:pt>
                <c:pt idx="853">
                  <c:v>-0.003817734622913127</c:v>
                </c:pt>
                <c:pt idx="854">
                  <c:v>0.008126854664666672</c:v>
                </c:pt>
                <c:pt idx="855">
                  <c:v>0.003548064298000586</c:v>
                </c:pt>
                <c:pt idx="856">
                  <c:v>0.00822634619908924</c:v>
                </c:pt>
                <c:pt idx="857">
                  <c:v>0.007728732828174323</c:v>
                </c:pt>
                <c:pt idx="858">
                  <c:v>0.009818989243860266</c:v>
                </c:pt>
                <c:pt idx="859">
                  <c:v>0.009818989243860266</c:v>
                </c:pt>
                <c:pt idx="860">
                  <c:v>0.009818989243860266</c:v>
                </c:pt>
                <c:pt idx="861">
                  <c:v>0.009818989243860266</c:v>
                </c:pt>
                <c:pt idx="862">
                  <c:v>0.0009600388125978743</c:v>
                </c:pt>
                <c:pt idx="863">
                  <c:v>-0.00670439041038573</c:v>
                </c:pt>
                <c:pt idx="864">
                  <c:v>0.001955499102630487</c:v>
                </c:pt>
                <c:pt idx="865">
                  <c:v>0.012008892892770628</c:v>
                </c:pt>
                <c:pt idx="866">
                  <c:v>0.012008892892770628</c:v>
                </c:pt>
                <c:pt idx="867">
                  <c:v>0.012008892892770628</c:v>
                </c:pt>
                <c:pt idx="868">
                  <c:v>0.013601458088140728</c:v>
                </c:pt>
                <c:pt idx="869">
                  <c:v>0.015691792353227596</c:v>
                </c:pt>
                <c:pt idx="870">
                  <c:v>0.019076061511615006</c:v>
                </c:pt>
                <c:pt idx="871">
                  <c:v>0.023157238507366174</c:v>
                </c:pt>
                <c:pt idx="872">
                  <c:v>0.02405297371477344</c:v>
                </c:pt>
                <c:pt idx="873">
                  <c:v>0.02405297371477344</c:v>
                </c:pt>
                <c:pt idx="874">
                  <c:v>0.02405297371477344</c:v>
                </c:pt>
                <c:pt idx="875">
                  <c:v>0.030821589880948963</c:v>
                </c:pt>
                <c:pt idx="876">
                  <c:v>0.029129533151156295</c:v>
                </c:pt>
                <c:pt idx="877">
                  <c:v>0.015791361737051535</c:v>
                </c:pt>
                <c:pt idx="878">
                  <c:v>0.028432703163193462</c:v>
                </c:pt>
                <c:pt idx="879">
                  <c:v>0.03261329384396605</c:v>
                </c:pt>
                <c:pt idx="880">
                  <c:v>0.03261329384396605</c:v>
                </c:pt>
                <c:pt idx="881">
                  <c:v>0.03261329384396605</c:v>
                </c:pt>
                <c:pt idx="882">
                  <c:v>0.028631764081439304</c:v>
                </c:pt>
                <c:pt idx="883">
                  <c:v>0.0346040587252292</c:v>
                </c:pt>
                <c:pt idx="884">
                  <c:v>0.03987967907985812</c:v>
                </c:pt>
                <c:pt idx="885">
                  <c:v>0.03968054031221091</c:v>
                </c:pt>
                <c:pt idx="886">
                  <c:v>0.045254790968909386</c:v>
                </c:pt>
                <c:pt idx="887">
                  <c:v>0.045254790968909386</c:v>
                </c:pt>
                <c:pt idx="888">
                  <c:v>0.045254790968909386</c:v>
                </c:pt>
                <c:pt idx="889">
                  <c:v>0.046548725862209706</c:v>
                </c:pt>
                <c:pt idx="890">
                  <c:v>0.029925854673541252</c:v>
                </c:pt>
                <c:pt idx="891">
                  <c:v>0.04127318335698171</c:v>
                </c:pt>
                <c:pt idx="892">
                  <c:v>0.049634520417329187</c:v>
                </c:pt>
                <c:pt idx="893">
                  <c:v>0.047046494931926475</c:v>
                </c:pt>
                <c:pt idx="894">
                  <c:v>0.047046494931926475</c:v>
                </c:pt>
                <c:pt idx="895">
                  <c:v>0.047046494931926475</c:v>
                </c:pt>
                <c:pt idx="896">
                  <c:v>0.047046494931926475</c:v>
                </c:pt>
                <c:pt idx="897">
                  <c:v>0.04406026976063049</c:v>
                </c:pt>
                <c:pt idx="898">
                  <c:v>0.04435882221329912</c:v>
                </c:pt>
                <c:pt idx="899">
                  <c:v>0.06237550907669531</c:v>
                </c:pt>
                <c:pt idx="900">
                  <c:v>0.06277355306378651</c:v>
                </c:pt>
                <c:pt idx="901">
                  <c:v>0.06277355306378651</c:v>
                </c:pt>
                <c:pt idx="902">
                  <c:v>0.06277355306378651</c:v>
                </c:pt>
                <c:pt idx="903">
                  <c:v>0.05988697512571517</c:v>
                </c:pt>
                <c:pt idx="904">
                  <c:v>0.06197730939080204</c:v>
                </c:pt>
                <c:pt idx="905">
                  <c:v>0.05749801055855852</c:v>
                </c:pt>
                <c:pt idx="906">
                  <c:v>0.06157903185550784</c:v>
                </c:pt>
                <c:pt idx="907">
                  <c:v>0.07183156441329497</c:v>
                </c:pt>
                <c:pt idx="908">
                  <c:v>0.07183156441329497</c:v>
                </c:pt>
                <c:pt idx="909">
                  <c:v>0.07183156441329497</c:v>
                </c:pt>
                <c:pt idx="910">
                  <c:v>0.07023892136852394</c:v>
                </c:pt>
                <c:pt idx="911">
                  <c:v>0.06157903185550784</c:v>
                </c:pt>
                <c:pt idx="912">
                  <c:v>0.0698407995320316</c:v>
                </c:pt>
                <c:pt idx="913">
                  <c:v>0.08098906729722599</c:v>
                </c:pt>
                <c:pt idx="914">
                  <c:v>0.07571360264139892</c:v>
                </c:pt>
                <c:pt idx="915">
                  <c:v>0.07571360264139892</c:v>
                </c:pt>
                <c:pt idx="916">
                  <c:v>0.07571360264139892</c:v>
                </c:pt>
                <c:pt idx="917">
                  <c:v>0.07352369899248856</c:v>
                </c:pt>
                <c:pt idx="918">
                  <c:v>0.0843734143050141</c:v>
                </c:pt>
                <c:pt idx="919">
                  <c:v>0.08297991002789007</c:v>
                </c:pt>
                <c:pt idx="920">
                  <c:v>0.07869967211389284</c:v>
                </c:pt>
                <c:pt idx="921">
                  <c:v>0.07322514653981971</c:v>
                </c:pt>
                <c:pt idx="922">
                  <c:v>0.07322514653981971</c:v>
                </c:pt>
                <c:pt idx="923">
                  <c:v>0.07322514653981971</c:v>
                </c:pt>
                <c:pt idx="924">
                  <c:v>0.07760479813883858</c:v>
                </c:pt>
                <c:pt idx="925">
                  <c:v>0.08138718913371812</c:v>
                </c:pt>
                <c:pt idx="926">
                  <c:v>0.09233647383006716</c:v>
                </c:pt>
                <c:pt idx="927">
                  <c:v>0.0947254383972238</c:v>
                </c:pt>
                <c:pt idx="928">
                  <c:v>0.09213741291182109</c:v>
                </c:pt>
                <c:pt idx="929">
                  <c:v>0.09213741291182109</c:v>
                </c:pt>
                <c:pt idx="930">
                  <c:v>0.09213741291182109</c:v>
                </c:pt>
                <c:pt idx="931">
                  <c:v>0.08994750926291073</c:v>
                </c:pt>
                <c:pt idx="932">
                  <c:v>0.08845451345136435</c:v>
                </c:pt>
                <c:pt idx="933">
                  <c:v>0.09641765082581855</c:v>
                </c:pt>
                <c:pt idx="934">
                  <c:v>0.09621843420877041</c:v>
                </c:pt>
                <c:pt idx="935">
                  <c:v>0.09621843420877041</c:v>
                </c:pt>
                <c:pt idx="936">
                  <c:v>0.09621843420877041</c:v>
                </c:pt>
                <c:pt idx="937">
                  <c:v>0.09621843420877041</c:v>
                </c:pt>
                <c:pt idx="938">
                  <c:v>0.09363048657276862</c:v>
                </c:pt>
                <c:pt idx="939">
                  <c:v>0.08716050070866288</c:v>
                </c:pt>
                <c:pt idx="940">
                  <c:v>0.08974852619406559</c:v>
                </c:pt>
                <c:pt idx="941">
                  <c:v>0.0787991636483154</c:v>
                </c:pt>
                <c:pt idx="942">
                  <c:v>0.08726007009248637</c:v>
                </c:pt>
                <c:pt idx="943">
                  <c:v>0.08726007009248637</c:v>
                </c:pt>
                <c:pt idx="944">
                  <c:v>0.08726007009248637</c:v>
                </c:pt>
                <c:pt idx="945">
                  <c:v>0.0895493874264186</c:v>
                </c:pt>
                <c:pt idx="946">
                  <c:v>0.09114203047118963</c:v>
                </c:pt>
                <c:pt idx="947">
                  <c:v>0.07869967211389284</c:v>
                </c:pt>
                <c:pt idx="948">
                  <c:v>0.08507016644357601</c:v>
                </c:pt>
                <c:pt idx="949">
                  <c:v>0.06834772587108406</c:v>
                </c:pt>
                <c:pt idx="950">
                  <c:v>0.06834772587108406</c:v>
                </c:pt>
                <c:pt idx="951">
                  <c:v>0.06834772587108406</c:v>
                </c:pt>
                <c:pt idx="952">
                  <c:v>0.05799570177887414</c:v>
                </c:pt>
                <c:pt idx="953">
                  <c:v>0.05242152897157659</c:v>
                </c:pt>
                <c:pt idx="954">
                  <c:v>0.048539490743472635</c:v>
                </c:pt>
                <c:pt idx="955">
                  <c:v>0.04704649493192603</c:v>
                </c:pt>
                <c:pt idx="956">
                  <c:v>0.04057643121841936</c:v>
                </c:pt>
                <c:pt idx="957">
                  <c:v>0.04057643121841936</c:v>
                </c:pt>
                <c:pt idx="958">
                  <c:v>0.04057643121841936</c:v>
                </c:pt>
                <c:pt idx="959">
                  <c:v>0.05112759407827627</c:v>
                </c:pt>
                <c:pt idx="960">
                  <c:v>0.06287304459820908</c:v>
                </c:pt>
                <c:pt idx="961">
                  <c:v>0.06227586184347067</c:v>
                </c:pt>
                <c:pt idx="962">
                  <c:v>0.05899108421950605</c:v>
                </c:pt>
                <c:pt idx="963">
                  <c:v>0.06884541709140013</c:v>
                </c:pt>
                <c:pt idx="964">
                  <c:v>0.06884541709140013</c:v>
                </c:pt>
                <c:pt idx="965">
                  <c:v>0.06884541709140013</c:v>
                </c:pt>
                <c:pt idx="966">
                  <c:v>0.07352369899248878</c:v>
                </c:pt>
                <c:pt idx="967">
                  <c:v>0.05729894964031246</c:v>
                </c:pt>
                <c:pt idx="968">
                  <c:v>0.05451186323666368</c:v>
                </c:pt>
                <c:pt idx="969">
                  <c:v>0.06765097373252238</c:v>
                </c:pt>
                <c:pt idx="970">
                  <c:v>0.07929693271803262</c:v>
                </c:pt>
                <c:pt idx="971">
                  <c:v>0.07929693271803262</c:v>
                </c:pt>
                <c:pt idx="972">
                  <c:v>0.07929693271803262</c:v>
                </c:pt>
                <c:pt idx="973">
                  <c:v>0.08905185190490505</c:v>
                </c:pt>
                <c:pt idx="974">
                  <c:v>0.08935040435757369</c:v>
                </c:pt>
                <c:pt idx="975">
                  <c:v>0.08875314375343435</c:v>
                </c:pt>
                <c:pt idx="976">
                  <c:v>0.09532269900136359</c:v>
                </c:pt>
                <c:pt idx="977">
                  <c:v>0.09671620327848762</c:v>
                </c:pt>
                <c:pt idx="978">
                  <c:v>0.09671620327848762</c:v>
                </c:pt>
                <c:pt idx="979">
                  <c:v>0.09671620327848762</c:v>
                </c:pt>
                <c:pt idx="980">
                  <c:v>0.09741295541704975</c:v>
                </c:pt>
                <c:pt idx="981">
                  <c:v>0.10348481944466337</c:v>
                </c:pt>
                <c:pt idx="982">
                  <c:v>0.1161261608708053</c:v>
                </c:pt>
                <c:pt idx="983">
                  <c:v>0.11383684353687329</c:v>
                </c:pt>
                <c:pt idx="984">
                  <c:v>0.116424869022276</c:v>
                </c:pt>
                <c:pt idx="985">
                  <c:v>0.116424869022276</c:v>
                </c:pt>
                <c:pt idx="986">
                  <c:v>0.116424869022276</c:v>
                </c:pt>
                <c:pt idx="987">
                  <c:v>0.11712169901023906</c:v>
                </c:pt>
                <c:pt idx="988">
                  <c:v>0.1173206820790842</c:v>
                </c:pt>
                <c:pt idx="989">
                  <c:v>0.1120451395738562</c:v>
                </c:pt>
                <c:pt idx="990">
                  <c:v>0.10467934065294227</c:v>
                </c:pt>
                <c:pt idx="991">
                  <c:v>0.11184607865560992</c:v>
                </c:pt>
                <c:pt idx="992">
                  <c:v>0.11184607865560992</c:v>
                </c:pt>
                <c:pt idx="993">
                  <c:v>0.11184607865560992</c:v>
                </c:pt>
                <c:pt idx="994">
                  <c:v>0.11184607865560992</c:v>
                </c:pt>
                <c:pt idx="995">
                  <c:v>0.1121447868070804</c:v>
                </c:pt>
                <c:pt idx="996">
                  <c:v>0.10089687180866158</c:v>
                </c:pt>
                <c:pt idx="997">
                  <c:v>0.09810970755561188</c:v>
                </c:pt>
                <c:pt idx="998">
                  <c:v>0.1056746452441728</c:v>
                </c:pt>
                <c:pt idx="999">
                  <c:v>0.1056746452441728</c:v>
                </c:pt>
                <c:pt idx="1000">
                  <c:v>0.1056746452441728</c:v>
                </c:pt>
                <c:pt idx="1001">
                  <c:v>0.10786454889308317</c:v>
                </c:pt>
                <c:pt idx="1002">
                  <c:v>0.10637147523213564</c:v>
                </c:pt>
                <c:pt idx="1003">
                  <c:v>0.11911238604210106</c:v>
                </c:pt>
                <c:pt idx="1004">
                  <c:v>0.12020726001715532</c:v>
                </c:pt>
                <c:pt idx="1005">
                  <c:v>0.11463316505925869</c:v>
                </c:pt>
                <c:pt idx="1006">
                  <c:v>0.11463316505925869</c:v>
                </c:pt>
                <c:pt idx="1007">
                  <c:v>0.11463316505925869</c:v>
                </c:pt>
                <c:pt idx="1008">
                  <c:v>0.11791786483382238</c:v>
                </c:pt>
                <c:pt idx="1009">
                  <c:v>0.11565953156147102</c:v>
                </c:pt>
                <c:pt idx="1010">
                  <c:v>0.12639955706804873</c:v>
                </c:pt>
                <c:pt idx="1011">
                  <c:v>0.12288644715107822</c:v>
                </c:pt>
                <c:pt idx="1012">
                  <c:v>0.12077859677077618</c:v>
                </c:pt>
                <c:pt idx="1013">
                  <c:v>0.12077859677077618</c:v>
                </c:pt>
                <c:pt idx="1014">
                  <c:v>0.12077859677077618</c:v>
                </c:pt>
                <c:pt idx="1015">
                  <c:v>0.12790516448255018</c:v>
                </c:pt>
                <c:pt idx="1016">
                  <c:v>0.13252241245328888</c:v>
                </c:pt>
                <c:pt idx="1017">
                  <c:v>0.13252241245328888</c:v>
                </c:pt>
                <c:pt idx="1018">
                  <c:v>0.1302137106185186</c:v>
                </c:pt>
                <c:pt idx="1019">
                  <c:v>0.12569688837501403</c:v>
                </c:pt>
                <c:pt idx="1020">
                  <c:v>0.12569688837501403</c:v>
                </c:pt>
                <c:pt idx="1021">
                  <c:v>0.12569688837501403</c:v>
                </c:pt>
                <c:pt idx="1022">
                  <c:v>0.12670067855094902</c:v>
                </c:pt>
                <c:pt idx="1023">
                  <c:v>0.1301133627406854</c:v>
                </c:pt>
                <c:pt idx="1024">
                  <c:v>0.12880852893125105</c:v>
                </c:pt>
                <c:pt idx="1025">
                  <c:v>0.13041456207298663</c:v>
                </c:pt>
                <c:pt idx="1026">
                  <c:v>0.12820628596545047</c:v>
                </c:pt>
                <c:pt idx="1027">
                  <c:v>0.12820628596545047</c:v>
                </c:pt>
                <c:pt idx="1028">
                  <c:v>0.12820628596545047</c:v>
                </c:pt>
                <c:pt idx="1029">
                  <c:v>0.1301133627406854</c:v>
                </c:pt>
                <c:pt idx="1030">
                  <c:v>0.13613579239869167</c:v>
                </c:pt>
                <c:pt idx="1031">
                  <c:v>0.14436657601363478</c:v>
                </c:pt>
                <c:pt idx="1032">
                  <c:v>0.14436657601363478</c:v>
                </c:pt>
                <c:pt idx="1033">
                  <c:v>0.1508909007596082</c:v>
                </c:pt>
                <c:pt idx="1034">
                  <c:v>0.1508909007596082</c:v>
                </c:pt>
                <c:pt idx="1035">
                  <c:v>0.1508909007596082</c:v>
                </c:pt>
                <c:pt idx="1036">
                  <c:v>0.1508909007596082</c:v>
                </c:pt>
                <c:pt idx="1037">
                  <c:v>0.150589701427307</c:v>
                </c:pt>
                <c:pt idx="1038">
                  <c:v>0.1623335171098197</c:v>
                </c:pt>
                <c:pt idx="1039">
                  <c:v>0.1578166948663151</c:v>
                </c:pt>
                <c:pt idx="1040">
                  <c:v>0.1662481742369244</c:v>
                </c:pt>
                <c:pt idx="1041">
                  <c:v>0.1662481742369244</c:v>
                </c:pt>
                <c:pt idx="1042">
                  <c:v>0.1662481742369244</c:v>
                </c:pt>
                <c:pt idx="1043">
                  <c:v>0.16504361045592209</c:v>
                </c:pt>
                <c:pt idx="1044">
                  <c:v>0.17126681371899544</c:v>
                </c:pt>
                <c:pt idx="1045">
                  <c:v>0.15651178320747983</c:v>
                </c:pt>
                <c:pt idx="1046">
                  <c:v>0.146675122149603</c:v>
                </c:pt>
                <c:pt idx="1047">
                  <c:v>0.13914700722769457</c:v>
                </c:pt>
                <c:pt idx="1048">
                  <c:v>0.13914700722769457</c:v>
                </c:pt>
                <c:pt idx="1049">
                  <c:v>0.13914700722769457</c:v>
                </c:pt>
                <c:pt idx="1050">
                  <c:v>0.1508909007596082</c:v>
                </c:pt>
                <c:pt idx="1051">
                  <c:v>0.14697616578310235</c:v>
                </c:pt>
                <c:pt idx="1052">
                  <c:v>0.12439205456557967</c:v>
                </c:pt>
                <c:pt idx="1053">
                  <c:v>0.118670668541073</c:v>
                </c:pt>
                <c:pt idx="1054">
                  <c:v>0.13192009163808716</c:v>
                </c:pt>
                <c:pt idx="1055">
                  <c:v>0.13192009163808716</c:v>
                </c:pt>
                <c:pt idx="1056">
                  <c:v>0.13192009163808716</c:v>
                </c:pt>
                <c:pt idx="1057">
                  <c:v>0.1309163793115531</c:v>
                </c:pt>
                <c:pt idx="1058">
                  <c:v>0.12710214791168228</c:v>
                </c:pt>
                <c:pt idx="1059">
                  <c:v>0.14557098409583458</c:v>
                </c:pt>
                <c:pt idx="1060">
                  <c:v>0.1251949932870462</c:v>
                </c:pt>
                <c:pt idx="1061">
                  <c:v>0.1054212454440584</c:v>
                </c:pt>
                <c:pt idx="1062">
                  <c:v>0.1054212454440584</c:v>
                </c:pt>
                <c:pt idx="1063">
                  <c:v>0.1054212454440584</c:v>
                </c:pt>
                <c:pt idx="1064">
                  <c:v>0.07641307950899434</c:v>
                </c:pt>
                <c:pt idx="1065">
                  <c:v>0.08374049867523659</c:v>
                </c:pt>
                <c:pt idx="1066">
                  <c:v>0.08173299617276752</c:v>
                </c:pt>
                <c:pt idx="1067">
                  <c:v>0.10451795884475845</c:v>
                </c:pt>
                <c:pt idx="1068">
                  <c:v>0.1094362504489963</c:v>
                </c:pt>
                <c:pt idx="1069">
                  <c:v>0.1094362504489963</c:v>
                </c:pt>
                <c:pt idx="1070">
                  <c:v>0.1094362504489963</c:v>
                </c:pt>
                <c:pt idx="1071">
                  <c:v>0.11023926701986397</c:v>
                </c:pt>
                <c:pt idx="1072">
                  <c:v>0.127302843667348</c:v>
                </c:pt>
                <c:pt idx="1073">
                  <c:v>0.13031413634575206</c:v>
                </c:pt>
                <c:pt idx="1074">
                  <c:v>0.14828115529133812</c:v>
                </c:pt>
                <c:pt idx="1075">
                  <c:v>0.1522960824468751</c:v>
                </c:pt>
                <c:pt idx="1076">
                  <c:v>0.1522960824468751</c:v>
                </c:pt>
                <c:pt idx="1077">
                  <c:v>0.1522960824468751</c:v>
                </c:pt>
                <c:pt idx="1078">
                  <c:v>0.16383912452432048</c:v>
                </c:pt>
                <c:pt idx="1079">
                  <c:v>0.16092825757315055</c:v>
                </c:pt>
                <c:pt idx="1080">
                  <c:v>0.16695068723115636</c:v>
                </c:pt>
                <c:pt idx="1081">
                  <c:v>0.1577162691390801</c:v>
                </c:pt>
                <c:pt idx="1082">
                  <c:v>0.1733746640992968</c:v>
                </c:pt>
                <c:pt idx="1083">
                  <c:v>0.1733746640992968</c:v>
                </c:pt>
                <c:pt idx="1084">
                  <c:v>0.1733746640992968</c:v>
                </c:pt>
                <c:pt idx="1085">
                  <c:v>0.16905853761145861</c:v>
                </c:pt>
                <c:pt idx="1086">
                  <c:v>0.17136708374742704</c:v>
                </c:pt>
                <c:pt idx="1087">
                  <c:v>0.16494318472868752</c:v>
                </c:pt>
                <c:pt idx="1088">
                  <c:v>0.16594705275402344</c:v>
                </c:pt>
                <c:pt idx="1089">
                  <c:v>0.17417768067016448</c:v>
                </c:pt>
                <c:pt idx="1090">
                  <c:v>0.17417768067016448</c:v>
                </c:pt>
                <c:pt idx="1091">
                  <c:v>0.17417768067016448</c:v>
                </c:pt>
                <c:pt idx="1092">
                  <c:v>0.17417768067016448</c:v>
                </c:pt>
                <c:pt idx="1093">
                  <c:v>0.15169376163167314</c:v>
                </c:pt>
                <c:pt idx="1094">
                  <c:v>0.14818072956410355</c:v>
                </c:pt>
                <c:pt idx="1095">
                  <c:v>0.146775547876836</c:v>
                </c:pt>
                <c:pt idx="1096">
                  <c:v>0.12730284366734756</c:v>
                </c:pt>
                <c:pt idx="1097">
                  <c:v>0.12730284366734756</c:v>
                </c:pt>
                <c:pt idx="1098">
                  <c:v>0.12730284366734756</c:v>
                </c:pt>
                <c:pt idx="1099">
                  <c:v>0.13894631147202707</c:v>
                </c:pt>
                <c:pt idx="1100">
                  <c:v>0.14055226676436172</c:v>
                </c:pt>
                <c:pt idx="1101">
                  <c:v>0.15058970142730566</c:v>
                </c:pt>
                <c:pt idx="1102">
                  <c:v>0.16062705824084889</c:v>
                </c:pt>
                <c:pt idx="1103">
                  <c:v>0.16644886999258968</c:v>
                </c:pt>
                <c:pt idx="1104">
                  <c:v>0.16644886999258968</c:v>
                </c:pt>
                <c:pt idx="1105">
                  <c:v>0.16644886999258968</c:v>
                </c:pt>
                <c:pt idx="1106">
                  <c:v>0.1704638749975278</c:v>
                </c:pt>
                <c:pt idx="1107">
                  <c:v>0.1692593112165255</c:v>
                </c:pt>
                <c:pt idx="1108">
                  <c:v>0.16594705275402322</c:v>
                </c:pt>
                <c:pt idx="1109">
                  <c:v>0.18672443507414416</c:v>
                </c:pt>
                <c:pt idx="1110">
                  <c:v>0.1820069170749734</c:v>
                </c:pt>
                <c:pt idx="1111">
                  <c:v>0.1820069170749734</c:v>
                </c:pt>
                <c:pt idx="1112">
                  <c:v>0.1820069170749734</c:v>
                </c:pt>
                <c:pt idx="1113">
                  <c:v>0.18652373931847777</c:v>
                </c:pt>
                <c:pt idx="1114">
                  <c:v>0.19465401935678583</c:v>
                </c:pt>
                <c:pt idx="1115">
                  <c:v>0.18963522417591294</c:v>
                </c:pt>
                <c:pt idx="1116">
                  <c:v>0.20288464727292732</c:v>
                </c:pt>
                <c:pt idx="1117">
                  <c:v>0.20007412819959058</c:v>
                </c:pt>
                <c:pt idx="1118">
                  <c:v>0.20007412819959058</c:v>
                </c:pt>
                <c:pt idx="1119">
                  <c:v>0.20007412819959058</c:v>
                </c:pt>
                <c:pt idx="1120">
                  <c:v>0.19997385817115854</c:v>
                </c:pt>
                <c:pt idx="1121">
                  <c:v>0.19234539537141693</c:v>
                </c:pt>
                <c:pt idx="1122">
                  <c:v>0.19515591444475366</c:v>
                </c:pt>
                <c:pt idx="1123">
                  <c:v>0.18923383266458083</c:v>
                </c:pt>
                <c:pt idx="1124">
                  <c:v>0.19927126732752498</c:v>
                </c:pt>
                <c:pt idx="1125">
                  <c:v>0.19927126732752498</c:v>
                </c:pt>
                <c:pt idx="1126">
                  <c:v>0.19927126732752498</c:v>
                </c:pt>
                <c:pt idx="1127">
                  <c:v>0.19174315240561635</c:v>
                </c:pt>
                <c:pt idx="1128">
                  <c:v>0.19485479296185337</c:v>
                </c:pt>
                <c:pt idx="1129">
                  <c:v>0.19977308456609144</c:v>
                </c:pt>
                <c:pt idx="1130">
                  <c:v>0.19856859863449028</c:v>
                </c:pt>
                <c:pt idx="1131">
                  <c:v>0.2060967135563987</c:v>
                </c:pt>
                <c:pt idx="1132">
                  <c:v>0.2060967135563987</c:v>
                </c:pt>
                <c:pt idx="1133">
                  <c:v>0.2060967135563987</c:v>
                </c:pt>
                <c:pt idx="1134">
                  <c:v>0.2123198389700709</c:v>
                </c:pt>
                <c:pt idx="1135">
                  <c:v>0.19967273668825825</c:v>
                </c:pt>
                <c:pt idx="1136">
                  <c:v>0.20449068041466312</c:v>
                </c:pt>
                <c:pt idx="1137">
                  <c:v>0.20398878532669573</c:v>
                </c:pt>
                <c:pt idx="1138">
                  <c:v>0.21101500516063654</c:v>
                </c:pt>
                <c:pt idx="1139">
                  <c:v>0.21101500516063654</c:v>
                </c:pt>
                <c:pt idx="1140">
                  <c:v>0.21101500516063654</c:v>
                </c:pt>
                <c:pt idx="1141">
                  <c:v>0.20519327125829667</c:v>
                </c:pt>
                <c:pt idx="1142">
                  <c:v>0.20258352579002703</c:v>
                </c:pt>
                <c:pt idx="1143">
                  <c:v>0.19194392601068344</c:v>
                </c:pt>
                <c:pt idx="1144">
                  <c:v>0.19475436723461925</c:v>
                </c:pt>
                <c:pt idx="1145">
                  <c:v>0.19264651685431722</c:v>
                </c:pt>
                <c:pt idx="1146">
                  <c:v>0.19264651685431722</c:v>
                </c:pt>
                <c:pt idx="1147">
                  <c:v>0.19264651685431722</c:v>
                </c:pt>
                <c:pt idx="1148">
                  <c:v>0.19886972011739057</c:v>
                </c:pt>
                <c:pt idx="1149">
                  <c:v>0.1981671292737568</c:v>
                </c:pt>
                <c:pt idx="1150">
                  <c:v>0.19284729045938453</c:v>
                </c:pt>
                <c:pt idx="1151">
                  <c:v>0.17488034936319963</c:v>
                </c:pt>
                <c:pt idx="1152">
                  <c:v>0.1793971716067042</c:v>
                </c:pt>
                <c:pt idx="1153">
                  <c:v>0.1793971716067042</c:v>
                </c:pt>
                <c:pt idx="1154">
                  <c:v>0.1793971716067042</c:v>
                </c:pt>
                <c:pt idx="1155">
                  <c:v>0.1791963980016369</c:v>
                </c:pt>
                <c:pt idx="1156">
                  <c:v>0.1929476383372175</c:v>
                </c:pt>
                <c:pt idx="1157">
                  <c:v>0.2072006959113648</c:v>
                </c:pt>
                <c:pt idx="1158">
                  <c:v>0.22075131834068018</c:v>
                </c:pt>
                <c:pt idx="1159">
                  <c:v>0.21753932990660996</c:v>
                </c:pt>
                <c:pt idx="1160">
                  <c:v>0.21753932990660996</c:v>
                </c:pt>
                <c:pt idx="1161">
                  <c:v>0.21753932990660996</c:v>
                </c:pt>
                <c:pt idx="1162">
                  <c:v>0.2190449373211114</c:v>
                </c:pt>
                <c:pt idx="1163">
                  <c:v>0.21001129283410247</c:v>
                </c:pt>
                <c:pt idx="1164">
                  <c:v>0.207602243121499</c:v>
                </c:pt>
                <c:pt idx="1165">
                  <c:v>0.20198136067362737</c:v>
                </c:pt>
                <c:pt idx="1166">
                  <c:v>0.19083978795691525</c:v>
                </c:pt>
                <c:pt idx="1167">
                  <c:v>0.19083978795691525</c:v>
                </c:pt>
                <c:pt idx="1168">
                  <c:v>0.19083978795691525</c:v>
                </c:pt>
                <c:pt idx="1169">
                  <c:v>0.1967618697370883</c:v>
                </c:pt>
                <c:pt idx="1170">
                  <c:v>0.20007412819959058</c:v>
                </c:pt>
                <c:pt idx="1171">
                  <c:v>0.20007412819959058</c:v>
                </c:pt>
                <c:pt idx="1172">
                  <c:v>0.20459102829249587</c:v>
                </c:pt>
                <c:pt idx="1173">
                  <c:v>0.20890715478033406</c:v>
                </c:pt>
                <c:pt idx="1174">
                  <c:v>0.20890715478033406</c:v>
                </c:pt>
                <c:pt idx="1175">
                  <c:v>0.20890715478033406</c:v>
                </c:pt>
                <c:pt idx="1176">
                  <c:v>0.21312285554093835</c:v>
                </c:pt>
                <c:pt idx="1177">
                  <c:v>0.21492966228774124</c:v>
                </c:pt>
                <c:pt idx="1178">
                  <c:v>0.21402621998963944</c:v>
                </c:pt>
                <c:pt idx="1179">
                  <c:v>0.21402621998963944</c:v>
                </c:pt>
                <c:pt idx="1180">
                  <c:v>0.22225684790578049</c:v>
                </c:pt>
                <c:pt idx="1181">
                  <c:v>0.22225684790578049</c:v>
                </c:pt>
                <c:pt idx="1182">
                  <c:v>0.22225684790578049</c:v>
                </c:pt>
                <c:pt idx="1183">
                  <c:v>0.22486659337405013</c:v>
                </c:pt>
                <c:pt idx="1184">
                  <c:v>0.22707486948158628</c:v>
                </c:pt>
                <c:pt idx="1185">
                  <c:v>0.23359919422755993</c:v>
                </c:pt>
                <c:pt idx="1186">
                  <c:v>0.23430186292059463</c:v>
                </c:pt>
                <c:pt idx="1187">
                  <c:v>0.2358074703350963</c:v>
                </c:pt>
                <c:pt idx="1188">
                  <c:v>0.2358074703350963</c:v>
                </c:pt>
                <c:pt idx="1189">
                  <c:v>0.2358074703350963</c:v>
                </c:pt>
                <c:pt idx="1190">
                  <c:v>0.23289660338392637</c:v>
                </c:pt>
                <c:pt idx="1191">
                  <c:v>0.22556926206708505</c:v>
                </c:pt>
                <c:pt idx="1192">
                  <c:v>0.23430186292059485</c:v>
                </c:pt>
                <c:pt idx="1193">
                  <c:v>0.22657297439361912</c:v>
                </c:pt>
                <c:pt idx="1194">
                  <c:v>0.22516771485695086</c:v>
                </c:pt>
                <c:pt idx="1195">
                  <c:v>0.22516771485695086</c:v>
                </c:pt>
                <c:pt idx="1196">
                  <c:v>0.22516771485695086</c:v>
                </c:pt>
                <c:pt idx="1197">
                  <c:v>0.2276771124473873</c:v>
                </c:pt>
                <c:pt idx="1198">
                  <c:v>0.22297882325025276</c:v>
                </c:pt>
                <c:pt idx="1199">
                  <c:v>0.18662766826875532</c:v>
                </c:pt>
                <c:pt idx="1200">
                  <c:v>0.18672887248999892</c:v>
                </c:pt>
                <c:pt idx="1201">
                  <c:v>0.1960445653566738</c:v>
                </c:pt>
                <c:pt idx="1202">
                  <c:v>0.1960445653566738</c:v>
                </c:pt>
                <c:pt idx="1203">
                  <c:v>0.1960445653566738</c:v>
                </c:pt>
                <c:pt idx="1204">
                  <c:v>0.2034362881281062</c:v>
                </c:pt>
                <c:pt idx="1205">
                  <c:v>0.21356192616233427</c:v>
                </c:pt>
                <c:pt idx="1206">
                  <c:v>0.21356192616233427</c:v>
                </c:pt>
                <c:pt idx="1207">
                  <c:v>0.21457451332057742</c:v>
                </c:pt>
                <c:pt idx="1208">
                  <c:v>0.205360180373948</c:v>
                </c:pt>
                <c:pt idx="1209">
                  <c:v>0.205360180373948</c:v>
                </c:pt>
                <c:pt idx="1210">
                  <c:v>0.205360180373948</c:v>
                </c:pt>
                <c:pt idx="1211">
                  <c:v>0.1930068038819448</c:v>
                </c:pt>
                <c:pt idx="1212">
                  <c:v>0.18976663396472815</c:v>
                </c:pt>
                <c:pt idx="1213">
                  <c:v>0.18976663396472815</c:v>
                </c:pt>
                <c:pt idx="1214">
                  <c:v>0.1874376912857092</c:v>
                </c:pt>
                <c:pt idx="1215">
                  <c:v>0.19979098992831146</c:v>
                </c:pt>
                <c:pt idx="1216">
                  <c:v>0.19979098992831146</c:v>
                </c:pt>
                <c:pt idx="1217">
                  <c:v>0.19979098992831146</c:v>
                </c:pt>
                <c:pt idx="1218">
                  <c:v>0.2080940956367432</c:v>
                </c:pt>
                <c:pt idx="1219">
                  <c:v>0.1964496157898512</c:v>
                </c:pt>
                <c:pt idx="1220">
                  <c:v>0.19655082001109503</c:v>
                </c:pt>
                <c:pt idx="1221">
                  <c:v>0.19655082001109503</c:v>
                </c:pt>
                <c:pt idx="1222">
                  <c:v>0.1783246404097243</c:v>
                </c:pt>
                <c:pt idx="1223">
                  <c:v>0.1783246404097243</c:v>
                </c:pt>
                <c:pt idx="1224">
                  <c:v>0.1783246404097243</c:v>
                </c:pt>
                <c:pt idx="1225">
                  <c:v>0.17812207626843501</c:v>
                </c:pt>
                <c:pt idx="1226">
                  <c:v>0.1814635282562962</c:v>
                </c:pt>
                <c:pt idx="1227">
                  <c:v>0.20070237286531079</c:v>
                </c:pt>
                <c:pt idx="1228">
                  <c:v>0.20080357708655439</c:v>
                </c:pt>
                <c:pt idx="1229">
                  <c:v>0.21103049719142675</c:v>
                </c:pt>
                <c:pt idx="1230">
                  <c:v>0.21103049719142675</c:v>
                </c:pt>
                <c:pt idx="1231">
                  <c:v>0.21103049719142675</c:v>
                </c:pt>
                <c:pt idx="1232">
                  <c:v>0.21103049719142675</c:v>
                </c:pt>
                <c:pt idx="1233">
                  <c:v>0.22480143342544956</c:v>
                </c:pt>
                <c:pt idx="1234">
                  <c:v>0.2292567546421982</c:v>
                </c:pt>
                <c:pt idx="1235">
                  <c:v>0.23604094068856507</c:v>
                </c:pt>
                <c:pt idx="1236">
                  <c:v>0.23593965861792054</c:v>
                </c:pt>
                <c:pt idx="1237">
                  <c:v>0.23593965861792054</c:v>
                </c:pt>
                <c:pt idx="1238">
                  <c:v>0.23593965861792054</c:v>
                </c:pt>
                <c:pt idx="1239">
                  <c:v>0.22115621307505573</c:v>
                </c:pt>
                <c:pt idx="1240">
                  <c:v>0.2292567546421982</c:v>
                </c:pt>
                <c:pt idx="1241">
                  <c:v>0.22561153429180414</c:v>
                </c:pt>
                <c:pt idx="1242">
                  <c:v>0.2350283535303217</c:v>
                </c:pt>
                <c:pt idx="1243">
                  <c:v>0.2271303761044683</c:v>
                </c:pt>
                <c:pt idx="1244">
                  <c:v>0.2271303761044683</c:v>
                </c:pt>
                <c:pt idx="1245">
                  <c:v>0.2271303761044683</c:v>
                </c:pt>
                <c:pt idx="1246">
                  <c:v>0.21720714651272766</c:v>
                </c:pt>
                <c:pt idx="1247">
                  <c:v>0.22824416748395504</c:v>
                </c:pt>
                <c:pt idx="1248">
                  <c:v>0.23421833051336804</c:v>
                </c:pt>
                <c:pt idx="1249">
                  <c:v>0.23847108758882762</c:v>
                </c:pt>
                <c:pt idx="1250">
                  <c:v>0.22854793584648792</c:v>
                </c:pt>
                <c:pt idx="1251">
                  <c:v>0.22854793584648792</c:v>
                </c:pt>
                <c:pt idx="1252">
                  <c:v>0.22854793584648792</c:v>
                </c:pt>
                <c:pt idx="1253">
                  <c:v>0.23847108758882762</c:v>
                </c:pt>
                <c:pt idx="1254">
                  <c:v>0.2386736517301169</c:v>
                </c:pt>
                <c:pt idx="1255">
                  <c:v>0.23755978250122922</c:v>
                </c:pt>
                <c:pt idx="1256">
                  <c:v>0.25193825546031756</c:v>
                </c:pt>
                <c:pt idx="1257">
                  <c:v>0.25173576916842944</c:v>
                </c:pt>
                <c:pt idx="1258">
                  <c:v>0.25173576916842944</c:v>
                </c:pt>
                <c:pt idx="1259">
                  <c:v>0.25173576916842944</c:v>
                </c:pt>
                <c:pt idx="1260">
                  <c:v>0.25173576916842944</c:v>
                </c:pt>
                <c:pt idx="1261">
                  <c:v>0.2568998313314874</c:v>
                </c:pt>
                <c:pt idx="1262">
                  <c:v>0.25538098951882326</c:v>
                </c:pt>
                <c:pt idx="1263">
                  <c:v>0.25365958356486984</c:v>
                </c:pt>
                <c:pt idx="1264">
                  <c:v>0.2366484774136306</c:v>
                </c:pt>
                <c:pt idx="1265">
                  <c:v>0.2366484774136306</c:v>
                </c:pt>
                <c:pt idx="1266">
                  <c:v>0.2366484774136306</c:v>
                </c:pt>
                <c:pt idx="1267">
                  <c:v>0.230066855508553</c:v>
                </c:pt>
                <c:pt idx="1268">
                  <c:v>0.22814296326271144</c:v>
                </c:pt>
                <c:pt idx="1269">
                  <c:v>0.23047175024292832</c:v>
                </c:pt>
                <c:pt idx="1270">
                  <c:v>0.2117393159871368</c:v>
                </c:pt>
                <c:pt idx="1271">
                  <c:v>0.22348515575407446</c:v>
                </c:pt>
                <c:pt idx="1272">
                  <c:v>0.22348515575407446</c:v>
                </c:pt>
                <c:pt idx="1273">
                  <c:v>0.22348515575407446</c:v>
                </c:pt>
                <c:pt idx="1274">
                  <c:v>0.21052424253700552</c:v>
                </c:pt>
                <c:pt idx="1275">
                  <c:v>0.20171488217415257</c:v>
                </c:pt>
                <c:pt idx="1276">
                  <c:v>0.22075116264187788</c:v>
                </c:pt>
                <c:pt idx="1277">
                  <c:v>0.2019173684660407</c:v>
                </c:pt>
                <c:pt idx="1278">
                  <c:v>0.2100179878825843</c:v>
                </c:pt>
                <c:pt idx="1279">
                  <c:v>0.2100179878825843</c:v>
                </c:pt>
                <c:pt idx="1280">
                  <c:v>0.2100179878825843</c:v>
                </c:pt>
                <c:pt idx="1281">
                  <c:v>0.17872969084290125</c:v>
                </c:pt>
                <c:pt idx="1282">
                  <c:v>0.1725529636721992</c:v>
                </c:pt>
                <c:pt idx="1283">
                  <c:v>0.1795396360104542</c:v>
                </c:pt>
                <c:pt idx="1284">
                  <c:v>0.16607254598836518</c:v>
                </c:pt>
                <c:pt idx="1285">
                  <c:v>0.18926030146090556</c:v>
                </c:pt>
                <c:pt idx="1286">
                  <c:v>0.18926030146090556</c:v>
                </c:pt>
                <c:pt idx="1287">
                  <c:v>0.18926030146090556</c:v>
                </c:pt>
                <c:pt idx="1288">
                  <c:v>0.20110742329848774</c:v>
                </c:pt>
                <c:pt idx="1289">
                  <c:v>0.1925005492275229</c:v>
                </c:pt>
                <c:pt idx="1290">
                  <c:v>0.20222121467797427</c:v>
                </c:pt>
                <c:pt idx="1291">
                  <c:v>0.1971583567361599</c:v>
                </c:pt>
                <c:pt idx="1292">
                  <c:v>0.19462700561465374</c:v>
                </c:pt>
                <c:pt idx="1293">
                  <c:v>0.19462700561465374</c:v>
                </c:pt>
                <c:pt idx="1294">
                  <c:v>0.19462700561465374</c:v>
                </c:pt>
                <c:pt idx="1295">
                  <c:v>0.21214436642031398</c:v>
                </c:pt>
                <c:pt idx="1296">
                  <c:v>0.2127518252959788</c:v>
                </c:pt>
                <c:pt idx="1297">
                  <c:v>0.1993859394951336</c:v>
                </c:pt>
                <c:pt idx="1298">
                  <c:v>0.19766461139058134</c:v>
                </c:pt>
                <c:pt idx="1299">
                  <c:v>0.17700820703954712</c:v>
                </c:pt>
                <c:pt idx="1300">
                  <c:v>0.17700820703954712</c:v>
                </c:pt>
                <c:pt idx="1301">
                  <c:v>0.17700820703954712</c:v>
                </c:pt>
                <c:pt idx="1302">
                  <c:v>0.1785271267016122</c:v>
                </c:pt>
                <c:pt idx="1303">
                  <c:v>0.18267867955582795</c:v>
                </c:pt>
                <c:pt idx="1304">
                  <c:v>0.18875404680648455</c:v>
                </c:pt>
                <c:pt idx="1305">
                  <c:v>0.1432898409490022</c:v>
                </c:pt>
                <c:pt idx="1306">
                  <c:v>0.07332136839940162</c:v>
                </c:pt>
                <c:pt idx="1307">
                  <c:v>0.07332136839940162</c:v>
                </c:pt>
                <c:pt idx="1308">
                  <c:v>0.07332136839940162</c:v>
                </c:pt>
                <c:pt idx="1309">
                  <c:v>0.06289196200264091</c:v>
                </c:pt>
                <c:pt idx="1310">
                  <c:v>0.048918461627329046</c:v>
                </c:pt>
                <c:pt idx="1311">
                  <c:v>0.1411633845618716</c:v>
                </c:pt>
                <c:pt idx="1312">
                  <c:v>0.10622978932239358</c:v>
                </c:pt>
                <c:pt idx="1313">
                  <c:v>0.12496230142758602</c:v>
                </c:pt>
                <c:pt idx="1314">
                  <c:v>0.12496230142758602</c:v>
                </c:pt>
                <c:pt idx="1315">
                  <c:v>0.12496230142758602</c:v>
                </c:pt>
                <c:pt idx="1316">
                  <c:v>0.14065712990745016</c:v>
                </c:pt>
                <c:pt idx="1317">
                  <c:v>0.1413658708537595</c:v>
                </c:pt>
                <c:pt idx="1318">
                  <c:v>0.12324097332303352</c:v>
                </c:pt>
                <c:pt idx="1319">
                  <c:v>0.12799998505291432</c:v>
                </c:pt>
                <c:pt idx="1320">
                  <c:v>0.12799998505291432</c:v>
                </c:pt>
                <c:pt idx="1321">
                  <c:v>0.12799998505291432</c:v>
                </c:pt>
                <c:pt idx="1322">
                  <c:v>0.12799998505291432</c:v>
                </c:pt>
                <c:pt idx="1323">
                  <c:v>0.1097738054515438</c:v>
                </c:pt>
                <c:pt idx="1324">
                  <c:v>0.1347841710992812</c:v>
                </c:pt>
                <c:pt idx="1325">
                  <c:v>0.14865638940394854</c:v>
                </c:pt>
                <c:pt idx="1326">
                  <c:v>0.1696165621175154</c:v>
                </c:pt>
                <c:pt idx="1327">
                  <c:v>0.17640074816388207</c:v>
                </c:pt>
                <c:pt idx="1328">
                  <c:v>0.17640074816388207</c:v>
                </c:pt>
                <c:pt idx="1329">
                  <c:v>0.17640074816388207</c:v>
                </c:pt>
                <c:pt idx="1330">
                  <c:v>0.1786284087722565</c:v>
                </c:pt>
                <c:pt idx="1331">
                  <c:v>0.18460249395226858</c:v>
                </c:pt>
                <c:pt idx="1332">
                  <c:v>0.18460249395226858</c:v>
                </c:pt>
                <c:pt idx="1333">
                  <c:v>0.1889565330983729</c:v>
                </c:pt>
                <c:pt idx="1334">
                  <c:v>0.2091066827949859</c:v>
                </c:pt>
                <c:pt idx="1335">
                  <c:v>0.2091066827949859</c:v>
                </c:pt>
                <c:pt idx="1336">
                  <c:v>0.2091066827949859</c:v>
                </c:pt>
                <c:pt idx="1337">
                  <c:v>0.20667645804532242</c:v>
                </c:pt>
                <c:pt idx="1338">
                  <c:v>0.1996897857070674</c:v>
                </c:pt>
                <c:pt idx="1339">
                  <c:v>0.20070237286531056</c:v>
                </c:pt>
                <c:pt idx="1340">
                  <c:v>0.20465136157823727</c:v>
                </c:pt>
                <c:pt idx="1341">
                  <c:v>0.20627140761214524</c:v>
                </c:pt>
                <c:pt idx="1342">
                  <c:v>0.20627140761214524</c:v>
                </c:pt>
                <c:pt idx="1343">
                  <c:v>0.20627140761214524</c:v>
                </c:pt>
                <c:pt idx="1344">
                  <c:v>0.2356358902553879</c:v>
                </c:pt>
                <c:pt idx="1345">
                  <c:v>0.24221759000986642</c:v>
                </c:pt>
                <c:pt idx="1346">
                  <c:v>0.24333145923875388</c:v>
                </c:pt>
                <c:pt idx="1347">
                  <c:v>0.25001436321447623</c:v>
                </c:pt>
                <c:pt idx="1348">
                  <c:v>0.255988526243889</c:v>
                </c:pt>
                <c:pt idx="1349">
                  <c:v>0.255988526243889</c:v>
                </c:pt>
                <c:pt idx="1350">
                  <c:v>0.255988526243889</c:v>
                </c:pt>
                <c:pt idx="1351">
                  <c:v>0.2599375149568157</c:v>
                </c:pt>
                <c:pt idx="1352">
                  <c:v>0.2585199552147961</c:v>
                </c:pt>
                <c:pt idx="1353">
                  <c:v>0.24292640880557625</c:v>
                </c:pt>
                <c:pt idx="1354">
                  <c:v>0.24221759000986598</c:v>
                </c:pt>
                <c:pt idx="1355">
                  <c:v>0.2383698833675838</c:v>
                </c:pt>
                <c:pt idx="1356">
                  <c:v>0.2383698833675838</c:v>
                </c:pt>
                <c:pt idx="1357">
                  <c:v>0.2383698833675838</c:v>
                </c:pt>
                <c:pt idx="1358">
                  <c:v>0.2383698833675838</c:v>
                </c:pt>
                <c:pt idx="1359">
                  <c:v>0.2591274919398616</c:v>
                </c:pt>
                <c:pt idx="1360">
                  <c:v>0.25011564528512054</c:v>
                </c:pt>
                <c:pt idx="1361">
                  <c:v>0.2546722485725139</c:v>
                </c:pt>
                <c:pt idx="1362">
                  <c:v>0.2520395375309621</c:v>
                </c:pt>
                <c:pt idx="1363">
                  <c:v>0.2520395375309621</c:v>
                </c:pt>
                <c:pt idx="1364">
                  <c:v>0.2520395375309621</c:v>
                </c:pt>
                <c:pt idx="1365">
                  <c:v>0.26135515254823627</c:v>
                </c:pt>
                <c:pt idx="1366">
                  <c:v>0.2641902720322753</c:v>
                </c:pt>
                <c:pt idx="1367">
                  <c:v>0.2674305197988929</c:v>
                </c:pt>
                <c:pt idx="1368">
                  <c:v>0.26368409522725544</c:v>
                </c:pt>
                <c:pt idx="1369">
                  <c:v>0.2734046828283059</c:v>
                </c:pt>
                <c:pt idx="1370">
                  <c:v>0.2734046828283059</c:v>
                </c:pt>
                <c:pt idx="1371">
                  <c:v>0.2734046828283059</c:v>
                </c:pt>
                <c:pt idx="1372">
                  <c:v>0.27502472886221363</c:v>
                </c:pt>
                <c:pt idx="1373">
                  <c:v>0.28110017396227116</c:v>
                </c:pt>
                <c:pt idx="1374">
                  <c:v>0.2793788458577189</c:v>
                </c:pt>
                <c:pt idx="1375">
                  <c:v>0.28444162595013234</c:v>
                </c:pt>
                <c:pt idx="1376">
                  <c:v>0.2696581804072673</c:v>
                </c:pt>
                <c:pt idx="1377">
                  <c:v>0.2696581804072673</c:v>
                </c:pt>
                <c:pt idx="1378">
                  <c:v>0.2696581804072673</c:v>
                </c:pt>
                <c:pt idx="1379">
                  <c:v>0.2807905668946664</c:v>
                </c:pt>
                <c:pt idx="1380">
                  <c:v>0.26783167776202244</c:v>
                </c:pt>
                <c:pt idx="1381">
                  <c:v>0.268239842171238</c:v>
                </c:pt>
                <c:pt idx="1382">
                  <c:v>0.268239842171238</c:v>
                </c:pt>
                <c:pt idx="1383">
                  <c:v>0.26262767885627336</c:v>
                </c:pt>
                <c:pt idx="1384">
                  <c:v>0.26262767885627336</c:v>
                </c:pt>
                <c:pt idx="1385">
                  <c:v>0.26262767885627336</c:v>
                </c:pt>
                <c:pt idx="1386">
                  <c:v>0.27395398820145567</c:v>
                </c:pt>
                <c:pt idx="1387">
                  <c:v>0.29079040029694814</c:v>
                </c:pt>
                <c:pt idx="1388">
                  <c:v>0.28987208876326354</c:v>
                </c:pt>
                <c:pt idx="1389">
                  <c:v>0.30068817313457585</c:v>
                </c:pt>
                <c:pt idx="1390">
                  <c:v>0.30650430188004685</c:v>
                </c:pt>
                <c:pt idx="1391">
                  <c:v>0.30650430188004685</c:v>
                </c:pt>
                <c:pt idx="1392">
                  <c:v>0.30650430188004685</c:v>
                </c:pt>
                <c:pt idx="1393">
                  <c:v>0.3122186036090666</c:v>
                </c:pt>
                <c:pt idx="1394">
                  <c:v>0.3115042575058884</c:v>
                </c:pt>
                <c:pt idx="1395">
                  <c:v>0.31681031697629125</c:v>
                </c:pt>
                <c:pt idx="1396">
                  <c:v>0.32436108607387815</c:v>
                </c:pt>
                <c:pt idx="1397">
                  <c:v>0.32436108607387815</c:v>
                </c:pt>
                <c:pt idx="1398">
                  <c:v>0.32436108607387815</c:v>
                </c:pt>
                <c:pt idx="1399">
                  <c:v>0.32436108607387815</c:v>
                </c:pt>
                <c:pt idx="1400">
                  <c:v>0.31283081129818946</c:v>
                </c:pt>
                <c:pt idx="1401">
                  <c:v>0.31507567662417535</c:v>
                </c:pt>
                <c:pt idx="1402">
                  <c:v>0.3222183591619474</c:v>
                </c:pt>
                <c:pt idx="1403">
                  <c:v>0.32497344946180307</c:v>
                </c:pt>
                <c:pt idx="1404">
                  <c:v>0.3183408361990989</c:v>
                </c:pt>
                <c:pt idx="1405">
                  <c:v>0.3183408361990989</c:v>
                </c:pt>
                <c:pt idx="1406">
                  <c:v>0.3183408361990989</c:v>
                </c:pt>
                <c:pt idx="1407">
                  <c:v>0.32017761496527</c:v>
                </c:pt>
                <c:pt idx="1408">
                  <c:v>0.31466743436555866</c:v>
                </c:pt>
                <c:pt idx="1409">
                  <c:v>0.3197693727066535</c:v>
                </c:pt>
                <c:pt idx="1410">
                  <c:v>0.32507543217705637</c:v>
                </c:pt>
                <c:pt idx="1411">
                  <c:v>0.32405498222931683</c:v>
                </c:pt>
                <c:pt idx="1412">
                  <c:v>0.32405498222931683</c:v>
                </c:pt>
                <c:pt idx="1413">
                  <c:v>0.32405498222931683</c:v>
                </c:pt>
                <c:pt idx="1414">
                  <c:v>0.327830522476912</c:v>
                </c:pt>
                <c:pt idx="1415">
                  <c:v>0.3300753878028979</c:v>
                </c:pt>
                <c:pt idx="1416">
                  <c:v>0.3458912721012499</c:v>
                </c:pt>
                <c:pt idx="1417">
                  <c:v>0.3431363375001961</c:v>
                </c:pt>
                <c:pt idx="1418">
                  <c:v>0.3456873066707433</c:v>
                </c:pt>
                <c:pt idx="1419">
                  <c:v>0.3456873066707433</c:v>
                </c:pt>
                <c:pt idx="1420">
                  <c:v>0.3456873066707433</c:v>
                </c:pt>
                <c:pt idx="1421">
                  <c:v>0.33966690109716224</c:v>
                </c:pt>
                <c:pt idx="1422">
                  <c:v>0.33721807034067</c:v>
                </c:pt>
                <c:pt idx="1423">
                  <c:v>0.3327283396886984</c:v>
                </c:pt>
                <c:pt idx="1424">
                  <c:v>0.3260958821247961</c:v>
                </c:pt>
                <c:pt idx="1425">
                  <c:v>0.30936153059395766</c:v>
                </c:pt>
                <c:pt idx="1426">
                  <c:v>0.30936153059395766</c:v>
                </c:pt>
                <c:pt idx="1427">
                  <c:v>0.30936153059395766</c:v>
                </c:pt>
                <c:pt idx="1428">
                  <c:v>0.32823860903672664</c:v>
                </c:pt>
                <c:pt idx="1429">
                  <c:v>0.3245652072031864</c:v>
                </c:pt>
                <c:pt idx="1430">
                  <c:v>0.3344629800408141</c:v>
                </c:pt>
                <c:pt idx="1431">
                  <c:v>0.33762615690048436</c:v>
                </c:pt>
                <c:pt idx="1432">
                  <c:v>0.34548318554143465</c:v>
                </c:pt>
                <c:pt idx="1433">
                  <c:v>0.34548318554143465</c:v>
                </c:pt>
                <c:pt idx="1434">
                  <c:v>0.34548318554143465</c:v>
                </c:pt>
                <c:pt idx="1435">
                  <c:v>0.3419117664231477</c:v>
                </c:pt>
                <c:pt idx="1436">
                  <c:v>0.3566053737573087</c:v>
                </c:pt>
                <c:pt idx="1437">
                  <c:v>0.3628297447613964</c:v>
                </c:pt>
                <c:pt idx="1438">
                  <c:v>0.36068701784946566</c:v>
                </c:pt>
                <c:pt idx="1439">
                  <c:v>0.3609931216940272</c:v>
                </c:pt>
                <c:pt idx="1440">
                  <c:v>0.3609931216940272</c:v>
                </c:pt>
                <c:pt idx="1441">
                  <c:v>0.3609931216940272</c:v>
                </c:pt>
                <c:pt idx="1442">
                  <c:v>0.36129922553858873</c:v>
                </c:pt>
                <c:pt idx="1443">
                  <c:v>0.3540544045867615</c:v>
                </c:pt>
                <c:pt idx="1444">
                  <c:v>0.35252388536395385</c:v>
                </c:pt>
                <c:pt idx="1445">
                  <c:v>0.34731980860880407</c:v>
                </c:pt>
                <c:pt idx="1446">
                  <c:v>0.3695643407393536</c:v>
                </c:pt>
                <c:pt idx="1447">
                  <c:v>0.3695643407393536</c:v>
                </c:pt>
                <c:pt idx="1448">
                  <c:v>0.3695643407393536</c:v>
                </c:pt>
                <c:pt idx="1449">
                  <c:v>0.36068701784946544</c:v>
                </c:pt>
                <c:pt idx="1450">
                  <c:v>0.3635440908645742</c:v>
                </c:pt>
                <c:pt idx="1451">
                  <c:v>0.3640541601396421</c:v>
                </c:pt>
                <c:pt idx="1452">
                  <c:v>0.3695643407393534</c:v>
                </c:pt>
                <c:pt idx="1453">
                  <c:v>0.36160532938315004</c:v>
                </c:pt>
                <c:pt idx="1454">
                  <c:v>0.36160532938315004</c:v>
                </c:pt>
                <c:pt idx="1455">
                  <c:v>0.36160532938315004</c:v>
                </c:pt>
                <c:pt idx="1456">
                  <c:v>0.36160532938315004</c:v>
                </c:pt>
                <c:pt idx="1457">
                  <c:v>0.35201366039008364</c:v>
                </c:pt>
                <c:pt idx="1458">
                  <c:v>0.35772780642030133</c:v>
                </c:pt>
                <c:pt idx="1459">
                  <c:v>0.3668092504394975</c:v>
                </c:pt>
                <c:pt idx="1460">
                  <c:v>0.36803382151654573</c:v>
                </c:pt>
                <c:pt idx="1461">
                  <c:v>0.36803382151654573</c:v>
                </c:pt>
                <c:pt idx="1462">
                  <c:v>0.36803382151654573</c:v>
                </c:pt>
                <c:pt idx="1463">
                  <c:v>0.37466627908044825</c:v>
                </c:pt>
                <c:pt idx="1464">
                  <c:v>0.3767070232771257</c:v>
                </c:pt>
                <c:pt idx="1465">
                  <c:v>0.3797682174215431</c:v>
                </c:pt>
                <c:pt idx="1466">
                  <c:v>0.39333939209271107</c:v>
                </c:pt>
                <c:pt idx="1467">
                  <c:v>0.39129864789603364</c:v>
                </c:pt>
                <c:pt idx="1468">
                  <c:v>0.39129864789603364</c:v>
                </c:pt>
                <c:pt idx="1469">
                  <c:v>0.39129864789603364</c:v>
                </c:pt>
                <c:pt idx="1470">
                  <c:v>0.40038009191522983</c:v>
                </c:pt>
                <c:pt idx="1471">
                  <c:v>0.39895155540767546</c:v>
                </c:pt>
                <c:pt idx="1472">
                  <c:v>0.3976250016153742</c:v>
                </c:pt>
                <c:pt idx="1473">
                  <c:v>0.40344113036084517</c:v>
                </c:pt>
                <c:pt idx="1474">
                  <c:v>0.40568599568683106</c:v>
                </c:pt>
                <c:pt idx="1475">
                  <c:v>0.40568599568683106</c:v>
                </c:pt>
                <c:pt idx="1476">
                  <c:v>0.40568599568683106</c:v>
                </c:pt>
                <c:pt idx="1477">
                  <c:v>0.4123186089495352</c:v>
                </c:pt>
                <c:pt idx="1478">
                  <c:v>0.40701254947913235</c:v>
                </c:pt>
                <c:pt idx="1479">
                  <c:v>0.4009922996043531</c:v>
                </c:pt>
                <c:pt idx="1480">
                  <c:v>0.39405358249708744</c:v>
                </c:pt>
                <c:pt idx="1481">
                  <c:v>0.40140038616416795</c:v>
                </c:pt>
                <c:pt idx="1482">
                  <c:v>0.40140038616416795</c:v>
                </c:pt>
                <c:pt idx="1483">
                  <c:v>0.40140038616416795</c:v>
                </c:pt>
                <c:pt idx="1484">
                  <c:v>0.40486966686839976</c:v>
                </c:pt>
                <c:pt idx="1485">
                  <c:v>0.4105839685974195</c:v>
                </c:pt>
              </c:numCache>
            </c:numRef>
          </c:val>
          <c:smooth val="0"/>
          <c:extLst>
            <c:ext xmlns:c16="http://schemas.microsoft.com/office/drawing/2014/chart" uri="{C3380CC4-5D6E-409C-BE32-E72D297353CC}">
              <c16:uniqueId val="{00000001-1D55-4091-B462-1B341D70D85C}"/>
            </c:ext>
          </c:extLst>
        </c:ser>
        <c:ser>
          <c:idx val="2"/>
          <c:order val="2"/>
          <c:tx>
            <c:strRef>
              <c:f>Sheet1!$D$1</c:f>
              <c:strCache>
                <c:ptCount val="1"/>
                <c:pt idx="0">
                  <c:v>Porfolio return ZMW</c:v>
                </c:pt>
              </c:strCache>
            </c:strRef>
          </c:tx>
          <c:spPr>
            <a:ln w="12700" cap="rnd">
              <a:solidFill>
                <a:schemeClr val="accent1">
                  <a:lumMod val="20000"/>
                  <a:lumOff val="80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D$2:$D$1487</c:f>
              <c:numCache>
                <c:formatCode>General</c:formatCode>
                <c:ptCount val="1486"/>
                <c:pt idx="0">
                  <c:v>0.0</c:v>
                </c:pt>
                <c:pt idx="1">
                  <c:v>-0.009206091338253342</c:v>
                </c:pt>
                <c:pt idx="2">
                  <c:v>-0.000636759030454237</c:v>
                </c:pt>
                <c:pt idx="3">
                  <c:v>0.012192426135049894</c:v>
                </c:pt>
                <c:pt idx="4">
                  <c:v>-0.005146250264403851</c:v>
                </c:pt>
                <c:pt idx="5">
                  <c:v>-0.01700560864671552</c:v>
                </c:pt>
                <c:pt idx="6">
                  <c:v>-0.015369430377239701</c:v>
                </c:pt>
                <c:pt idx="7">
                  <c:v>-0.015526267118566306</c:v>
                </c:pt>
                <c:pt idx="8">
                  <c:v>-0.012719421986552959</c:v>
                </c:pt>
                <c:pt idx="9">
                  <c:v>-0.01708206883233976</c:v>
                </c:pt>
                <c:pt idx="10">
                  <c:v>-0.007459934683450409</c:v>
                </c:pt>
                <c:pt idx="11">
                  <c:v>0.0014715544851753304</c:v>
                </c:pt>
                <c:pt idx="12">
                  <c:v>0.0025504314053321764</c:v>
                </c:pt>
                <c:pt idx="13">
                  <c:v>0.013737682603729429</c:v>
                </c:pt>
                <c:pt idx="14">
                  <c:v>0.020109367799589828</c:v>
                </c:pt>
                <c:pt idx="15">
                  <c:v>0.014868974680859237</c:v>
                </c:pt>
                <c:pt idx="16">
                  <c:v>0.020257722725840255</c:v>
                </c:pt>
                <c:pt idx="17">
                  <c:v>0.014656476093247939</c:v>
                </c:pt>
                <c:pt idx="18">
                  <c:v>0.02679841471340283</c:v>
                </c:pt>
                <c:pt idx="19">
                  <c:v>0.02677346746061282</c:v>
                </c:pt>
                <c:pt idx="20">
                  <c:v>0.02543230370577687</c:v>
                </c:pt>
                <c:pt idx="21">
                  <c:v>0.021989311341378937</c:v>
                </c:pt>
                <c:pt idx="22">
                  <c:v>0.03930888801219967</c:v>
                </c:pt>
                <c:pt idx="23">
                  <c:v>0.039325115799852206</c:v>
                </c:pt>
                <c:pt idx="24">
                  <c:v>0.038202403017398856</c:v>
                </c:pt>
                <c:pt idx="25">
                  <c:v>0.03534247598424067</c:v>
                </c:pt>
                <c:pt idx="26">
                  <c:v>0.041044042044953155</c:v>
                </c:pt>
                <c:pt idx="27">
                  <c:v>0.04512672383998906</c:v>
                </c:pt>
                <c:pt idx="28">
                  <c:v>0.050101311737587695</c:v>
                </c:pt>
                <c:pt idx="29">
                  <c:v>0.06295988402761754</c:v>
                </c:pt>
                <c:pt idx="30">
                  <c:v>0.09281287670852323</c:v>
                </c:pt>
                <c:pt idx="31">
                  <c:v>0.0899359191117759</c:v>
                </c:pt>
                <c:pt idx="32">
                  <c:v>0.08785976239154425</c:v>
                </c:pt>
                <c:pt idx="33">
                  <c:v>0.07993922852009216</c:v>
                </c:pt>
                <c:pt idx="34">
                  <c:v>0.08674479442573024</c:v>
                </c:pt>
                <c:pt idx="35">
                  <c:v>0.10308542646253782</c:v>
                </c:pt>
                <c:pt idx="36">
                  <c:v>0.09922842670075904</c:v>
                </c:pt>
                <c:pt idx="37">
                  <c:v>0.0850015341815582</c:v>
                </c:pt>
                <c:pt idx="38">
                  <c:v>0.07079887512541783</c:v>
                </c:pt>
                <c:pt idx="39">
                  <c:v>0.07918196984026848</c:v>
                </c:pt>
                <c:pt idx="40">
                  <c:v>0.0872876134821241</c:v>
                </c:pt>
                <c:pt idx="41">
                  <c:v>0.09338725953550364</c:v>
                </c:pt>
                <c:pt idx="42">
                  <c:v>0.10578086148609622</c:v>
                </c:pt>
                <c:pt idx="43">
                  <c:v>0.09293469230036977</c:v>
                </c:pt>
                <c:pt idx="44">
                  <c:v>0.0999400168251825</c:v>
                </c:pt>
                <c:pt idx="45">
                  <c:v>0.10649549933612668</c:v>
                </c:pt>
                <c:pt idx="46">
                  <c:v>0.1154582797343382</c:v>
                </c:pt>
                <c:pt idx="47">
                  <c:v>0.11832964526904721</c:v>
                </c:pt>
                <c:pt idx="48">
                  <c:v>0.12604576066892426</c:v>
                </c:pt>
                <c:pt idx="49">
                  <c:v>0.1282012027743913</c:v>
                </c:pt>
                <c:pt idx="50">
                  <c:v>0.1336417348566865</c:v>
                </c:pt>
                <c:pt idx="51">
                  <c:v>0.14322786580043112</c:v>
                </c:pt>
                <c:pt idx="52">
                  <c:v>0.13270598085259944</c:v>
                </c:pt>
                <c:pt idx="53">
                  <c:v>0.13150723970799416</c:v>
                </c:pt>
                <c:pt idx="54">
                  <c:v>0.1269602323607797</c:v>
                </c:pt>
                <c:pt idx="55">
                  <c:v>0.12062746014643055</c:v>
                </c:pt>
                <c:pt idx="56">
                  <c:v>0.11956569347592705</c:v>
                </c:pt>
                <c:pt idx="57">
                  <c:v>0.13804487538830124</c:v>
                </c:pt>
                <c:pt idx="58">
                  <c:v>0.13028190365886627</c:v>
                </c:pt>
                <c:pt idx="59">
                  <c:v>0.14179292541710486</c:v>
                </c:pt>
                <c:pt idx="60">
                  <c:v>0.12719895168542106</c:v>
                </c:pt>
                <c:pt idx="61">
                  <c:v>0.12412011169369608</c:v>
                </c:pt>
                <c:pt idx="62">
                  <c:v>0.12636402868433927</c:v>
                </c:pt>
                <c:pt idx="63">
                  <c:v>0.1375241684006263</c:v>
                </c:pt>
                <c:pt idx="64">
                  <c:v>0.14519061634278008</c:v>
                </c:pt>
                <c:pt idx="65">
                  <c:v>0.15616924280382394</c:v>
                </c:pt>
                <c:pt idx="66">
                  <c:v>0.15361797388750031</c:v>
                </c:pt>
                <c:pt idx="67">
                  <c:v>0.14831882081803371</c:v>
                </c:pt>
                <c:pt idx="68">
                  <c:v>0.1581952478838291</c:v>
                </c:pt>
                <c:pt idx="69">
                  <c:v>0.1566115420255907</c:v>
                </c:pt>
                <c:pt idx="70">
                  <c:v>0.14460159070405987</c:v>
                </c:pt>
                <c:pt idx="71">
                  <c:v>0.13369288682262637</c:v>
                </c:pt>
                <c:pt idx="72">
                  <c:v>0.1273640286957327</c:v>
                </c:pt>
                <c:pt idx="73">
                  <c:v>0.13665826790343005</c:v>
                </c:pt>
                <c:pt idx="74">
                  <c:v>0.13969198984377607</c:v>
                </c:pt>
                <c:pt idx="75">
                  <c:v>0.14768078719699274</c:v>
                </c:pt>
                <c:pt idx="76">
                  <c:v>0.14353892184317596</c:v>
                </c:pt>
                <c:pt idx="77">
                  <c:v>0.14573403914236294</c:v>
                </c:pt>
                <c:pt idx="78">
                  <c:v>0.1522986806936233</c:v>
                </c:pt>
                <c:pt idx="79">
                  <c:v>0.1521756247924786</c:v>
                </c:pt>
                <c:pt idx="80">
                  <c:v>0.1621911974521466</c:v>
                </c:pt>
                <c:pt idx="81">
                  <c:v>0.15717245476126096</c:v>
                </c:pt>
                <c:pt idx="82">
                  <c:v>0.15370208121292128</c:v>
                </c:pt>
                <c:pt idx="83">
                  <c:v>0.15003733502302197</c:v>
                </c:pt>
                <c:pt idx="84">
                  <c:v>0.1397879520958425</c:v>
                </c:pt>
                <c:pt idx="85">
                  <c:v>0.14627494055051216</c:v>
                </c:pt>
                <c:pt idx="86">
                  <c:v>0.1435370630925077</c:v>
                </c:pt>
                <c:pt idx="87">
                  <c:v>0.14440069160820146</c:v>
                </c:pt>
                <c:pt idx="88">
                  <c:v>0.1509594026519696</c:v>
                </c:pt>
                <c:pt idx="89">
                  <c:v>0.15635975731163754</c:v>
                </c:pt>
                <c:pt idx="90">
                  <c:v>0.16418965255216778</c:v>
                </c:pt>
                <c:pt idx="91">
                  <c:v>0.16318410045136567</c:v>
                </c:pt>
                <c:pt idx="92">
                  <c:v>0.14576511531806235</c:v>
                </c:pt>
                <c:pt idx="93">
                  <c:v>0.13440809730503966</c:v>
                </c:pt>
                <c:pt idx="94">
                  <c:v>0.10761415663043494</c:v>
                </c:pt>
                <c:pt idx="95">
                  <c:v>0.013351477998858607</c:v>
                </c:pt>
                <c:pt idx="96">
                  <c:v>0.0010740698962434791</c:v>
                </c:pt>
                <c:pt idx="97">
                  <c:v>-0.007959467206085535</c:v>
                </c:pt>
                <c:pt idx="98">
                  <c:v>-0.006606177848296757</c:v>
                </c:pt>
                <c:pt idx="99">
                  <c:v>-0.0043577028353685154</c:v>
                </c:pt>
                <c:pt idx="100">
                  <c:v>-0.0009559372491506624</c:v>
                </c:pt>
                <c:pt idx="101">
                  <c:v>0.016055739108832512</c:v>
                </c:pt>
                <c:pt idx="102">
                  <c:v>0.015576966163536543</c:v>
                </c:pt>
                <c:pt idx="103">
                  <c:v>0.023149512121771076</c:v>
                </c:pt>
                <c:pt idx="104">
                  <c:v>0.014535239901027452</c:v>
                </c:pt>
                <c:pt idx="105">
                  <c:v>0.02319007492704639</c:v>
                </c:pt>
                <c:pt idx="106">
                  <c:v>0.00951240784168661</c:v>
                </c:pt>
                <c:pt idx="107">
                  <c:v>0.006603276503843736</c:v>
                </c:pt>
                <c:pt idx="108">
                  <c:v>0.01894936873210873</c:v>
                </c:pt>
                <c:pt idx="109">
                  <c:v>0.004113638917050189</c:v>
                </c:pt>
                <c:pt idx="110">
                  <c:v>0.00870949175731095</c:v>
                </c:pt>
                <c:pt idx="111">
                  <c:v>0.011441569535313167</c:v>
                </c:pt>
                <c:pt idx="112">
                  <c:v>0.004174792820827777</c:v>
                </c:pt>
                <c:pt idx="113">
                  <c:v>-0.005339219192612488</c:v>
                </c:pt>
                <c:pt idx="114">
                  <c:v>-0.0028809111150557287</c:v>
                </c:pt>
                <c:pt idx="115">
                  <c:v>-0.005455663523752263</c:v>
                </c:pt>
                <c:pt idx="116">
                  <c:v>-0.0018039979946233853</c:v>
                </c:pt>
                <c:pt idx="117">
                  <c:v>-0.001147588912902009</c:v>
                </c:pt>
                <c:pt idx="118">
                  <c:v>0.014501331394518147</c:v>
                </c:pt>
                <c:pt idx="119">
                  <c:v>0.012796648085388718</c:v>
                </c:pt>
                <c:pt idx="120">
                  <c:v>0.004062193880869591</c:v>
                </c:pt>
                <c:pt idx="121">
                  <c:v>0.008884863070724336</c:v>
                </c:pt>
                <c:pt idx="122">
                  <c:v>0.014609807299170274</c:v>
                </c:pt>
                <c:pt idx="123">
                  <c:v>0.02851236251058409</c:v>
                </c:pt>
                <c:pt idx="124">
                  <c:v>0.037134954358414074</c:v>
                </c:pt>
                <c:pt idx="125">
                  <c:v>0.04111783785948253</c:v>
                </c:pt>
                <c:pt idx="126">
                  <c:v>0.055830098940096384</c:v>
                </c:pt>
                <c:pt idx="127">
                  <c:v>0.053007992334162646</c:v>
                </c:pt>
                <c:pt idx="128">
                  <c:v>0.04688062750033195</c:v>
                </c:pt>
                <c:pt idx="129">
                  <c:v>0.0421070598659572</c:v>
                </c:pt>
                <c:pt idx="130">
                  <c:v>0.04857671648438555</c:v>
                </c:pt>
                <c:pt idx="131">
                  <c:v>0.03533474612457943</c:v>
                </c:pt>
                <c:pt idx="132">
                  <c:v>0.04204778828090894</c:v>
                </c:pt>
                <c:pt idx="133">
                  <c:v>0.03960305497792138</c:v>
                </c:pt>
                <c:pt idx="134">
                  <c:v>0.03264091801308622</c:v>
                </c:pt>
                <c:pt idx="135">
                  <c:v>0.024005234057808078</c:v>
                </c:pt>
                <c:pt idx="136">
                  <c:v>0.030405906461718146</c:v>
                </c:pt>
                <c:pt idx="137">
                  <c:v>0.04670721110957432</c:v>
                </c:pt>
                <c:pt idx="138">
                  <c:v>0.06703315927287457</c:v>
                </c:pt>
                <c:pt idx="139">
                  <c:v>0.09705060898605655</c:v>
                </c:pt>
                <c:pt idx="140">
                  <c:v>0.1050876753990233</c:v>
                </c:pt>
                <c:pt idx="141">
                  <c:v>0.09955466403587598</c:v>
                </c:pt>
                <c:pt idx="142">
                  <c:v>0.08389530586629212</c:v>
                </c:pt>
                <c:pt idx="143">
                  <c:v>0.09003563351861543</c:v>
                </c:pt>
                <c:pt idx="144">
                  <c:v>0.0925763096299117</c:v>
                </c:pt>
                <c:pt idx="145">
                  <c:v>0.08875677869544663</c:v>
                </c:pt>
                <c:pt idx="146">
                  <c:v>0.08291568612351519</c:v>
                </c:pt>
                <c:pt idx="147">
                  <c:v>0.09000662537917825</c:v>
                </c:pt>
                <c:pt idx="148">
                  <c:v>0.1079409680162684</c:v>
                </c:pt>
                <c:pt idx="149">
                  <c:v>0.11005971742368992</c:v>
                </c:pt>
                <c:pt idx="150">
                  <c:v>0.11338118400517772</c:v>
                </c:pt>
                <c:pt idx="151">
                  <c:v>0.10941391519973287</c:v>
                </c:pt>
                <c:pt idx="152">
                  <c:v>0.09226294411874725</c:v>
                </c:pt>
                <c:pt idx="153">
                  <c:v>0.08770828941273034</c:v>
                </c:pt>
                <c:pt idx="154">
                  <c:v>0.09266460393924425</c:v>
                </c:pt>
                <c:pt idx="155">
                  <c:v>0.11397255397895778</c:v>
                </c:pt>
                <c:pt idx="156">
                  <c:v>0.12305381480934297</c:v>
                </c:pt>
                <c:pt idx="157">
                  <c:v>0.13404673978204174</c:v>
                </c:pt>
                <c:pt idx="158">
                  <c:v>0.13887377153621094</c:v>
                </c:pt>
                <c:pt idx="159">
                  <c:v>0.12656600165838405</c:v>
                </c:pt>
                <c:pt idx="160">
                  <c:v>0.11674391290549524</c:v>
                </c:pt>
                <c:pt idx="161">
                  <c:v>0.11854069187625949</c:v>
                </c:pt>
                <c:pt idx="162">
                  <c:v>0.13877123968563132</c:v>
                </c:pt>
                <c:pt idx="163">
                  <c:v>0.09781034518918363</c:v>
                </c:pt>
                <c:pt idx="164">
                  <c:v>0.08770802917780673</c:v>
                </c:pt>
                <c:pt idx="165">
                  <c:v>0.052375278034212824</c:v>
                </c:pt>
                <c:pt idx="166">
                  <c:v>0.062162308789438736</c:v>
                </c:pt>
                <c:pt idx="167">
                  <c:v>0.06652464569422634</c:v>
                </c:pt>
                <c:pt idx="168">
                  <c:v>0.061507503612239445</c:v>
                </c:pt>
                <c:pt idx="169">
                  <c:v>0.06756428456467622</c:v>
                </c:pt>
                <c:pt idx="170">
                  <c:v>0.06794508671075872</c:v>
                </c:pt>
                <c:pt idx="171">
                  <c:v>0.07395010149685866</c:v>
                </c:pt>
                <c:pt idx="172">
                  <c:v>0.07343879703025746</c:v>
                </c:pt>
                <c:pt idx="173">
                  <c:v>0.061423523110350375</c:v>
                </c:pt>
                <c:pt idx="174">
                  <c:v>0.04901505017248042</c:v>
                </c:pt>
                <c:pt idx="175">
                  <c:v>0.04442111591960529</c:v>
                </c:pt>
                <c:pt idx="176">
                  <c:v>0.07007138022190129</c:v>
                </c:pt>
                <c:pt idx="177">
                  <c:v>0.0750416036002568</c:v>
                </c:pt>
                <c:pt idx="178">
                  <c:v>0.07614806360362425</c:v>
                </c:pt>
                <c:pt idx="179">
                  <c:v>0.08886570471823885</c:v>
                </c:pt>
                <c:pt idx="180">
                  <c:v>0.10286526910040683</c:v>
                </c:pt>
                <c:pt idx="181">
                  <c:v>0.10566007721482662</c:v>
                </c:pt>
                <c:pt idx="182">
                  <c:v>0.10718631602282724</c:v>
                </c:pt>
                <c:pt idx="183">
                  <c:v>0.11806237551905951</c:v>
                </c:pt>
                <c:pt idx="184">
                  <c:v>0.1222140607898965</c:v>
                </c:pt>
                <c:pt idx="185">
                  <c:v>0.1449679566426132</c:v>
                </c:pt>
                <c:pt idx="186">
                  <c:v>0.15157067822420878</c:v>
                </c:pt>
                <c:pt idx="187">
                  <c:v>0.13869329001284192</c:v>
                </c:pt>
                <c:pt idx="188">
                  <c:v>0.12440552184476905</c:v>
                </c:pt>
                <c:pt idx="189">
                  <c:v>0.1440567254852374</c:v>
                </c:pt>
                <c:pt idx="190">
                  <c:v>0.16476218619111238</c:v>
                </c:pt>
                <c:pt idx="191">
                  <c:v>0.1295532374538464</c:v>
                </c:pt>
                <c:pt idx="192">
                  <c:v>0.12791257362387576</c:v>
                </c:pt>
                <c:pt idx="193">
                  <c:v>0.14522263348518205</c:v>
                </c:pt>
                <c:pt idx="194">
                  <c:v>0.13369375284215712</c:v>
                </c:pt>
                <c:pt idx="195">
                  <c:v>0.12456762392798759</c:v>
                </c:pt>
                <c:pt idx="196">
                  <c:v>0.1288743327788877</c:v>
                </c:pt>
                <c:pt idx="197">
                  <c:v>0.12443986351480585</c:v>
                </c:pt>
                <c:pt idx="198">
                  <c:v>0.12032668029389249</c:v>
                </c:pt>
                <c:pt idx="199">
                  <c:v>0.1280124230581301</c:v>
                </c:pt>
                <c:pt idx="200">
                  <c:v>0.13489887413144008</c:v>
                </c:pt>
                <c:pt idx="201">
                  <c:v>0.1505843996325702</c:v>
                </c:pt>
                <c:pt idx="202">
                  <c:v>0.15209230562927623</c:v>
                </c:pt>
                <c:pt idx="203">
                  <c:v>0.163960441740707</c:v>
                </c:pt>
                <c:pt idx="204">
                  <c:v>0.142923750731494</c:v>
                </c:pt>
                <c:pt idx="205">
                  <c:v>0.14890840355920787</c:v>
                </c:pt>
                <c:pt idx="206">
                  <c:v>0.1392461441827031</c:v>
                </c:pt>
                <c:pt idx="207">
                  <c:v>0.13026581185311503</c:v>
                </c:pt>
                <c:pt idx="208">
                  <c:v>0.12134524828804283</c:v>
                </c:pt>
                <c:pt idx="209">
                  <c:v>0.11829051019034331</c:v>
                </c:pt>
                <c:pt idx="210">
                  <c:v>0.1237455977034192</c:v>
                </c:pt>
                <c:pt idx="211">
                  <c:v>0.08606013252337008</c:v>
                </c:pt>
                <c:pt idx="212">
                  <c:v>0.0869762157882028</c:v>
                </c:pt>
                <c:pt idx="213">
                  <c:v>0.08186949286714507</c:v>
                </c:pt>
                <c:pt idx="214">
                  <c:v>0.07815430414075486</c:v>
                </c:pt>
                <c:pt idx="215">
                  <c:v>0.08891018639856663</c:v>
                </c:pt>
                <c:pt idx="216">
                  <c:v>0.09496681010015906</c:v>
                </c:pt>
                <c:pt idx="217">
                  <c:v>0.10830938780782828</c:v>
                </c:pt>
                <c:pt idx="218">
                  <c:v>0.10616823132975606</c:v>
                </c:pt>
                <c:pt idx="219">
                  <c:v>0.09371934852523522</c:v>
                </c:pt>
                <c:pt idx="220">
                  <c:v>0.09057134983812265</c:v>
                </c:pt>
                <c:pt idx="221">
                  <c:v>0.09353290497129874</c:v>
                </c:pt>
                <c:pt idx="222">
                  <c:v>0.09585933816583503</c:v>
                </c:pt>
                <c:pt idx="223">
                  <c:v>0.08506327531406033</c:v>
                </c:pt>
                <c:pt idx="224">
                  <c:v>0.09576614837194386</c:v>
                </c:pt>
                <c:pt idx="225">
                  <c:v>0.09957090370679711</c:v>
                </c:pt>
                <c:pt idx="226">
                  <c:v>0.11759536579493468</c:v>
                </c:pt>
                <c:pt idx="227">
                  <c:v>0.13634234293368763</c:v>
                </c:pt>
                <c:pt idx="228">
                  <c:v>0.1367564303359794</c:v>
                </c:pt>
                <c:pt idx="229">
                  <c:v>0.13416446432961093</c:v>
                </c:pt>
                <c:pt idx="230">
                  <c:v>0.11890689115469555</c:v>
                </c:pt>
                <c:pt idx="231">
                  <c:v>0.07009818043537974</c:v>
                </c:pt>
                <c:pt idx="232">
                  <c:v>0.07725345427604835</c:v>
                </c:pt>
                <c:pt idx="233">
                  <c:v>0.09600410583314001</c:v>
                </c:pt>
                <c:pt idx="234">
                  <c:v>0.09027629890904354</c:v>
                </c:pt>
                <c:pt idx="235">
                  <c:v>0.08270486351049389</c:v>
                </c:pt>
                <c:pt idx="236">
                  <c:v>0.061105718078396265</c:v>
                </c:pt>
                <c:pt idx="237">
                  <c:v>0.05994346113647819</c:v>
                </c:pt>
                <c:pt idx="238">
                  <c:v>0.0500981236031206</c:v>
                </c:pt>
                <c:pt idx="239">
                  <c:v>0.04609672758144545</c:v>
                </c:pt>
                <c:pt idx="240">
                  <c:v>0.029168159939656935</c:v>
                </c:pt>
                <c:pt idx="241">
                  <c:v>0.03325090356945282</c:v>
                </c:pt>
                <c:pt idx="242">
                  <c:v>0.019737380327863097</c:v>
                </c:pt>
                <c:pt idx="243">
                  <c:v>0.005984253833114739</c:v>
                </c:pt>
                <c:pt idx="244">
                  <c:v>0.026785842885930666</c:v>
                </c:pt>
                <c:pt idx="245">
                  <c:v>0.013125732229488207</c:v>
                </c:pt>
                <c:pt idx="246">
                  <c:v>0.005477430047647447</c:v>
                </c:pt>
                <c:pt idx="247">
                  <c:v>0.024689878712343294</c:v>
                </c:pt>
                <c:pt idx="248">
                  <c:v>0.05216823219330102</c:v>
                </c:pt>
                <c:pt idx="249">
                  <c:v>0.042461479935358426</c:v>
                </c:pt>
                <c:pt idx="250">
                  <c:v>0.03928367675278954</c:v>
                </c:pt>
                <c:pt idx="251">
                  <c:v>0.04312359894089779</c:v>
                </c:pt>
                <c:pt idx="252">
                  <c:v>0.05277289369320659</c:v>
                </c:pt>
                <c:pt idx="253">
                  <c:v>0.049080795623221984</c:v>
                </c:pt>
                <c:pt idx="254">
                  <c:v>0.0445790167088842</c:v>
                </c:pt>
                <c:pt idx="255">
                  <c:v>0.05514824069759272</c:v>
                </c:pt>
                <c:pt idx="256">
                  <c:v>0.06048930637608674</c:v>
                </c:pt>
                <c:pt idx="257">
                  <c:v>0.057176886398810245</c:v>
                </c:pt>
                <c:pt idx="258">
                  <c:v>0.05630860782061031</c:v>
                </c:pt>
                <c:pt idx="259">
                  <c:v>0.043881296115048984</c:v>
                </c:pt>
                <c:pt idx="260">
                  <c:v>0.04675063473646279</c:v>
                </c:pt>
                <c:pt idx="261">
                  <c:v>0.046626771268923006</c:v>
                </c:pt>
                <c:pt idx="262">
                  <c:v>0.0504280859981181</c:v>
                </c:pt>
                <c:pt idx="263">
                  <c:v>0.04729851190381584</c:v>
                </c:pt>
                <c:pt idx="264">
                  <c:v>0.05246129136735744</c:v>
                </c:pt>
                <c:pt idx="265">
                  <c:v>0.06306041882387547</c:v>
                </c:pt>
                <c:pt idx="266">
                  <c:v>0.06542739002991027</c:v>
                </c:pt>
                <c:pt idx="267">
                  <c:v>0.06974829277748018</c:v>
                </c:pt>
                <c:pt idx="268">
                  <c:v>0.0726216085966056</c:v>
                </c:pt>
                <c:pt idx="269">
                  <c:v>0.07460978620022773</c:v>
                </c:pt>
                <c:pt idx="270">
                  <c:v>0.06135093582756457</c:v>
                </c:pt>
                <c:pt idx="271">
                  <c:v>0.06501970281639169</c:v>
                </c:pt>
                <c:pt idx="272">
                  <c:v>0.06451464631342074</c:v>
                </c:pt>
                <c:pt idx="273">
                  <c:v>0.07754118999644577</c:v>
                </c:pt>
                <c:pt idx="274">
                  <c:v>0.08559682630067456</c:v>
                </c:pt>
                <c:pt idx="275">
                  <c:v>0.08525270622120873</c:v>
                </c:pt>
                <c:pt idx="276">
                  <c:v>0.08061300944706562</c:v>
                </c:pt>
                <c:pt idx="277">
                  <c:v>0.07480413707334521</c:v>
                </c:pt>
                <c:pt idx="278">
                  <c:v>0.08745012998637236</c:v>
                </c:pt>
                <c:pt idx="279">
                  <c:v>0.09065388599574686</c:v>
                </c:pt>
                <c:pt idx="280">
                  <c:v>0.10233621958814809</c:v>
                </c:pt>
                <c:pt idx="281">
                  <c:v>0.07415150575138818</c:v>
                </c:pt>
                <c:pt idx="282">
                  <c:v>0.08496904658242221</c:v>
                </c:pt>
                <c:pt idx="283">
                  <c:v>0.0916637926114181</c:v>
                </c:pt>
                <c:pt idx="284">
                  <c:v>0.08143765991432739</c:v>
                </c:pt>
                <c:pt idx="285">
                  <c:v>0.07708002235986666</c:v>
                </c:pt>
                <c:pt idx="286">
                  <c:v>0.08026313142739605</c:v>
                </c:pt>
                <c:pt idx="287">
                  <c:v>0.0861994153727279</c:v>
                </c:pt>
                <c:pt idx="288">
                  <c:v>0.08065049562493298</c:v>
                </c:pt>
                <c:pt idx="289">
                  <c:v>0.08154002445531083</c:v>
                </c:pt>
                <c:pt idx="290">
                  <c:v>0.08247678836540295</c:v>
                </c:pt>
                <c:pt idx="291">
                  <c:v>0.08444302638338241</c:v>
                </c:pt>
                <c:pt idx="292">
                  <c:v>0.10009064322592476</c:v>
                </c:pt>
                <c:pt idx="293">
                  <c:v>0.07376189313073556</c:v>
                </c:pt>
                <c:pt idx="294">
                  <c:v>0.07317815912760661</c:v>
                </c:pt>
                <c:pt idx="295">
                  <c:v>0.07715560067784133</c:v>
                </c:pt>
                <c:pt idx="296">
                  <c:v>0.08217544453712944</c:v>
                </c:pt>
                <c:pt idx="297">
                  <c:v>0.07960005922998858</c:v>
                </c:pt>
                <c:pt idx="298">
                  <c:v>0.04810264246242779</c:v>
                </c:pt>
                <c:pt idx="299">
                  <c:v>0.05184013151690259</c:v>
                </c:pt>
                <c:pt idx="300">
                  <c:v>0.06957397420228628</c:v>
                </c:pt>
                <c:pt idx="301">
                  <c:v>0.04067047751952613</c:v>
                </c:pt>
                <c:pt idx="302">
                  <c:v>0.04348511682984979</c:v>
                </c:pt>
                <c:pt idx="303">
                  <c:v>0.04069593685110573</c:v>
                </c:pt>
                <c:pt idx="304">
                  <c:v>0.023523403866921422</c:v>
                </c:pt>
                <c:pt idx="305">
                  <c:v>0.014968573701224841</c:v>
                </c:pt>
                <c:pt idx="306">
                  <c:v>0.012200415769284989</c:v>
                </c:pt>
                <c:pt idx="307">
                  <c:v>0.025157009909473782</c:v>
                </c:pt>
                <c:pt idx="308">
                  <c:v>0.026716613817654444</c:v>
                </c:pt>
                <c:pt idx="309">
                  <c:v>0.05072632269520794</c:v>
                </c:pt>
                <c:pt idx="310">
                  <c:v>0.06358425236688925</c:v>
                </c:pt>
                <c:pt idx="311">
                  <c:v>0.0692140852443579</c:v>
                </c:pt>
                <c:pt idx="312">
                  <c:v>0.08981173744506776</c:v>
                </c:pt>
                <c:pt idx="313">
                  <c:v>0.09484714174890341</c:v>
                </c:pt>
                <c:pt idx="314">
                  <c:v>0.10395176760598779</c:v>
                </c:pt>
                <c:pt idx="315">
                  <c:v>0.10049857965782172</c:v>
                </c:pt>
                <c:pt idx="316">
                  <c:v>0.10339522117804534</c:v>
                </c:pt>
                <c:pt idx="317">
                  <c:v>0.09687458110289127</c:v>
                </c:pt>
                <c:pt idx="318">
                  <c:v>0.10803467483254403</c:v>
                </c:pt>
                <c:pt idx="319">
                  <c:v>0.0984974422827185</c:v>
                </c:pt>
                <c:pt idx="320">
                  <c:v>0.10715615970783654</c:v>
                </c:pt>
                <c:pt idx="321">
                  <c:v>0.10564911529932441</c:v>
                </c:pt>
                <c:pt idx="322">
                  <c:v>0.11421974025105719</c:v>
                </c:pt>
                <c:pt idx="323">
                  <c:v>0.11678855091652296</c:v>
                </c:pt>
                <c:pt idx="324">
                  <c:v>0.16998050613296778</c:v>
                </c:pt>
                <c:pt idx="325">
                  <c:v>0.18089730289956685</c:v>
                </c:pt>
                <c:pt idx="326">
                  <c:v>0.12900801760445035</c:v>
                </c:pt>
                <c:pt idx="327">
                  <c:v>0.1287979598568143</c:v>
                </c:pt>
                <c:pt idx="328">
                  <c:v>0.11673780532333344</c:v>
                </c:pt>
                <c:pt idx="329">
                  <c:v>0.11400475182019476</c:v>
                </c:pt>
                <c:pt idx="330">
                  <c:v>0.133561788538755</c:v>
                </c:pt>
                <c:pt idx="331">
                  <c:v>0.11003036384319342</c:v>
                </c:pt>
                <c:pt idx="332">
                  <c:v>0.1073656451118914</c:v>
                </c:pt>
                <c:pt idx="333">
                  <c:v>0.09941551823255268</c:v>
                </c:pt>
                <c:pt idx="334">
                  <c:v>0.10025264606122608</c:v>
                </c:pt>
                <c:pt idx="335">
                  <c:v>0.08803178627918595</c:v>
                </c:pt>
                <c:pt idx="336">
                  <c:v>0.09101001340087689</c:v>
                </c:pt>
                <c:pt idx="337">
                  <c:v>0.08067437523898113</c:v>
                </c:pt>
                <c:pt idx="338">
                  <c:v>0.09949162389726007</c:v>
                </c:pt>
                <c:pt idx="339">
                  <c:v>0.10295617639679566</c:v>
                </c:pt>
                <c:pt idx="340">
                  <c:v>0.0837250117772379</c:v>
                </c:pt>
                <c:pt idx="341">
                  <c:v>0.08734626148406566</c:v>
                </c:pt>
                <c:pt idx="342">
                  <c:v>0.08857965894901332</c:v>
                </c:pt>
                <c:pt idx="343">
                  <c:v>0.09407371353278804</c:v>
                </c:pt>
                <c:pt idx="344">
                  <c:v>0.11171332825365843</c:v>
                </c:pt>
                <c:pt idx="345">
                  <c:v>0.0902197646045908</c:v>
                </c:pt>
                <c:pt idx="346">
                  <c:v>0.08575587734082268</c:v>
                </c:pt>
                <c:pt idx="347">
                  <c:v>0.09209935335631014</c:v>
                </c:pt>
                <c:pt idx="348">
                  <c:v>0.07618184496662228</c:v>
                </c:pt>
                <c:pt idx="349">
                  <c:v>0.09175582770816115</c:v>
                </c:pt>
                <c:pt idx="350">
                  <c:v>0.09787422524240408</c:v>
                </c:pt>
                <c:pt idx="351">
                  <c:v>0.10574810837629589</c:v>
                </c:pt>
                <c:pt idx="352">
                  <c:v>0.10291225159269146</c:v>
                </c:pt>
                <c:pt idx="353">
                  <c:v>0.10939427835132953</c:v>
                </c:pt>
                <c:pt idx="354">
                  <c:v>0.12087767483315393</c:v>
                </c:pt>
                <c:pt idx="355">
                  <c:v>0.12386183363727432</c:v>
                </c:pt>
                <c:pt idx="356">
                  <c:v>0.12687019652461973</c:v>
                </c:pt>
                <c:pt idx="357">
                  <c:v>0.13753995054247925</c:v>
                </c:pt>
                <c:pt idx="358">
                  <c:v>0.1166089765951086</c:v>
                </c:pt>
                <c:pt idx="359">
                  <c:v>0.10854583677848928</c:v>
                </c:pt>
                <c:pt idx="360">
                  <c:v>0.09719578593331413</c:v>
                </c:pt>
                <c:pt idx="361">
                  <c:v>0.06646567304459605</c:v>
                </c:pt>
                <c:pt idx="362">
                  <c:v>0.07707522586233728</c:v>
                </c:pt>
                <c:pt idx="363">
                  <c:v>0.06672874131296225</c:v>
                </c:pt>
                <c:pt idx="364">
                  <c:v>0.06960201378041564</c:v>
                </c:pt>
                <c:pt idx="365">
                  <c:v>0.0862817485301206</c:v>
                </c:pt>
                <c:pt idx="366">
                  <c:v>0.0801662705842423</c:v>
                </c:pt>
                <c:pt idx="367">
                  <c:v>0.07502524520949039</c:v>
                </c:pt>
                <c:pt idx="368">
                  <c:v>0.0804300756452383</c:v>
                </c:pt>
                <c:pt idx="369">
                  <c:v>0.08958311115396156</c:v>
                </c:pt>
                <c:pt idx="370">
                  <c:v>0.09019169510705805</c:v>
                </c:pt>
                <c:pt idx="371">
                  <c:v>0.09800495745497129</c:v>
                </c:pt>
                <c:pt idx="372">
                  <c:v>0.1163229548129796</c:v>
                </c:pt>
                <c:pt idx="373">
                  <c:v>0.1268904488120639</c:v>
                </c:pt>
                <c:pt idx="374">
                  <c:v>0.13562422873982993</c:v>
                </c:pt>
                <c:pt idx="375">
                  <c:v>0.16245889557310433</c:v>
                </c:pt>
                <c:pt idx="376">
                  <c:v>0.1607163277887076</c:v>
                </c:pt>
                <c:pt idx="377">
                  <c:v>0.13914620028005498</c:v>
                </c:pt>
                <c:pt idx="378">
                  <c:v>0.13286174730262212</c:v>
                </c:pt>
                <c:pt idx="379">
                  <c:v>0.15786072806027396</c:v>
                </c:pt>
                <c:pt idx="380">
                  <c:v>0.17122741695722943</c:v>
                </c:pt>
                <c:pt idx="381">
                  <c:v>0.17808541663567</c:v>
                </c:pt>
                <c:pt idx="382">
                  <c:v>0.15864955546713033</c:v>
                </c:pt>
                <c:pt idx="383">
                  <c:v>0.14539385312894582</c:v>
                </c:pt>
                <c:pt idx="384">
                  <c:v>0.1284853882527479</c:v>
                </c:pt>
                <c:pt idx="385">
                  <c:v>0.15208384612654635</c:v>
                </c:pt>
                <c:pt idx="386">
                  <c:v>0.12971851845954552</c:v>
                </c:pt>
                <c:pt idx="387">
                  <c:v>0.13663022298174954</c:v>
                </c:pt>
                <c:pt idx="388">
                  <c:v>0.14381451345954543</c:v>
                </c:pt>
                <c:pt idx="389">
                  <c:v>0.12903480829089742</c:v>
                </c:pt>
                <c:pt idx="390">
                  <c:v>0.10476509564287695</c:v>
                </c:pt>
                <c:pt idx="391">
                  <c:v>0.10583269540355844</c:v>
                </c:pt>
                <c:pt idx="392">
                  <c:v>0.10170049389483449</c:v>
                </c:pt>
                <c:pt idx="393">
                  <c:v>0.10258266181205444</c:v>
                </c:pt>
                <c:pt idx="394">
                  <c:v>0.11480026071888072</c:v>
                </c:pt>
                <c:pt idx="395">
                  <c:v>0.12034047749845533</c:v>
                </c:pt>
                <c:pt idx="396">
                  <c:v>0.12813507056210804</c:v>
                </c:pt>
                <c:pt idx="397">
                  <c:v>0.13109925454611515</c:v>
                </c:pt>
                <c:pt idx="398">
                  <c:v>0.1373040292476475</c:v>
                </c:pt>
                <c:pt idx="399">
                  <c:v>0.13730842891426742</c:v>
                </c:pt>
                <c:pt idx="400">
                  <c:v>0.12914715751496497</c:v>
                </c:pt>
                <c:pt idx="401">
                  <c:v>0.1322438440707343</c:v>
                </c:pt>
                <c:pt idx="402">
                  <c:v>0.14477826318878018</c:v>
                </c:pt>
                <c:pt idx="403">
                  <c:v>0.14328448534226768</c:v>
                </c:pt>
                <c:pt idx="404">
                  <c:v>0.14945946651926767</c:v>
                </c:pt>
                <c:pt idx="405">
                  <c:v>0.1470737995778173</c:v>
                </c:pt>
                <c:pt idx="406">
                  <c:v>0.1464961323147269</c:v>
                </c:pt>
                <c:pt idx="407">
                  <c:v>0.15825063364004754</c:v>
                </c:pt>
                <c:pt idx="408">
                  <c:v>0.1360713553243138</c:v>
                </c:pt>
                <c:pt idx="409">
                  <c:v>0.1240996746550922</c:v>
                </c:pt>
                <c:pt idx="410">
                  <c:v>0.10904127615604287</c:v>
                </c:pt>
                <c:pt idx="411">
                  <c:v>0.08495361703397175</c:v>
                </c:pt>
                <c:pt idx="412">
                  <c:v>0.07845093431394434</c:v>
                </c:pt>
                <c:pt idx="413">
                  <c:v>0.07637594381405699</c:v>
                </c:pt>
                <c:pt idx="414">
                  <c:v>0.08293567718522121</c:v>
                </c:pt>
                <c:pt idx="415">
                  <c:v>0.09510599480692883</c:v>
                </c:pt>
                <c:pt idx="416">
                  <c:v>0.10611101269778156</c:v>
                </c:pt>
                <c:pt idx="417">
                  <c:v>0.12478305300853165</c:v>
                </c:pt>
                <c:pt idx="418">
                  <c:v>0.12455043619803585</c:v>
                </c:pt>
                <c:pt idx="419">
                  <c:v>0.13951715211851923</c:v>
                </c:pt>
                <c:pt idx="420">
                  <c:v>0.1427841150212068</c:v>
                </c:pt>
                <c:pt idx="421">
                  <c:v>0.14579898190028673</c:v>
                </c:pt>
                <c:pt idx="422">
                  <c:v>0.12939157129337642</c:v>
                </c:pt>
                <c:pt idx="423">
                  <c:v>0.11712804188046189</c:v>
                </c:pt>
                <c:pt idx="424">
                  <c:v>0.10669400490545877</c:v>
                </c:pt>
                <c:pt idx="425">
                  <c:v>0.10342797544535975</c:v>
                </c:pt>
                <c:pt idx="426">
                  <c:v>0.11234815084910621</c:v>
                </c:pt>
                <c:pt idx="427">
                  <c:v>0.12285061113779228</c:v>
                </c:pt>
                <c:pt idx="428">
                  <c:v>0.12194312506592553</c:v>
                </c:pt>
                <c:pt idx="429">
                  <c:v>0.1292120355531472</c:v>
                </c:pt>
                <c:pt idx="430">
                  <c:v>0.11856271915838024</c:v>
                </c:pt>
                <c:pt idx="431">
                  <c:v>0.1268986263017302</c:v>
                </c:pt>
                <c:pt idx="432">
                  <c:v>0.1260023777009942</c:v>
                </c:pt>
                <c:pt idx="433">
                  <c:v>0.1069238377950763</c:v>
                </c:pt>
                <c:pt idx="434">
                  <c:v>0.11162061753595465</c:v>
                </c:pt>
                <c:pt idx="435">
                  <c:v>0.11819349032400583</c:v>
                </c:pt>
                <c:pt idx="436">
                  <c:v>0.11654632237065354</c:v>
                </c:pt>
                <c:pt idx="437">
                  <c:v>0.10993588289533918</c:v>
                </c:pt>
                <c:pt idx="438">
                  <c:v>0.10773067779379897</c:v>
                </c:pt>
                <c:pt idx="439">
                  <c:v>0.1127320365937845</c:v>
                </c:pt>
                <c:pt idx="440">
                  <c:v>0.11123227272166347</c:v>
                </c:pt>
                <c:pt idx="441">
                  <c:v>0.11732754258517408</c:v>
                </c:pt>
                <c:pt idx="442">
                  <c:v>0.12203368307006945</c:v>
                </c:pt>
                <c:pt idx="443">
                  <c:v>0.14345481124710568</c:v>
                </c:pt>
                <c:pt idx="444">
                  <c:v>0.14332490564986955</c:v>
                </c:pt>
                <c:pt idx="445">
                  <c:v>0.13409814986260016</c:v>
                </c:pt>
                <c:pt idx="446">
                  <c:v>0.14610667622723672</c:v>
                </c:pt>
                <c:pt idx="447">
                  <c:v>0.1430131765637943</c:v>
                </c:pt>
                <c:pt idx="448">
                  <c:v>0.15719309316498054</c:v>
                </c:pt>
                <c:pt idx="449">
                  <c:v>0.166486364913484</c:v>
                </c:pt>
                <c:pt idx="450">
                  <c:v>0.16631464785227013</c:v>
                </c:pt>
                <c:pt idx="451">
                  <c:v>0.17820781666297525</c:v>
                </c:pt>
                <c:pt idx="452">
                  <c:v>0.20250059007169807</c:v>
                </c:pt>
                <c:pt idx="453">
                  <c:v>0.22676863329889851</c:v>
                </c:pt>
                <c:pt idx="454">
                  <c:v>0.2281292678869571</c:v>
                </c:pt>
                <c:pt idx="455">
                  <c:v>0.23370296703698545</c:v>
                </c:pt>
                <c:pt idx="456">
                  <c:v>0.2479753254124495</c:v>
                </c:pt>
                <c:pt idx="457">
                  <c:v>0.24473924304828332</c:v>
                </c:pt>
                <c:pt idx="458">
                  <c:v>0.2499612395552584</c:v>
                </c:pt>
                <c:pt idx="459">
                  <c:v>0.2535820906731263</c:v>
                </c:pt>
                <c:pt idx="460">
                  <c:v>0.2578845448779141</c:v>
                </c:pt>
                <c:pt idx="461">
                  <c:v>0.24849191638183177</c:v>
                </c:pt>
                <c:pt idx="462">
                  <c:v>0.23549219559536216</c:v>
                </c:pt>
                <c:pt idx="463">
                  <c:v>0.21329150665141383</c:v>
                </c:pt>
                <c:pt idx="464">
                  <c:v>0.2059499414005348</c:v>
                </c:pt>
                <c:pt idx="465">
                  <c:v>0.20481373848467777</c:v>
                </c:pt>
                <c:pt idx="466">
                  <c:v>0.20468936200154286</c:v>
                </c:pt>
                <c:pt idx="467">
                  <c:v>0.2274022090590524</c:v>
                </c:pt>
                <c:pt idx="468">
                  <c:v>0.24085077775470332</c:v>
                </c:pt>
                <c:pt idx="469">
                  <c:v>0.24106840892879866</c:v>
                </c:pt>
                <c:pt idx="470">
                  <c:v>0.24409618800909527</c:v>
                </c:pt>
                <c:pt idx="471">
                  <c:v>0.24636754799911764</c:v>
                </c:pt>
                <c:pt idx="472">
                  <c:v>0.244371776117704</c:v>
                </c:pt>
                <c:pt idx="473">
                  <c:v>0.24704941237483613</c:v>
                </c:pt>
                <c:pt idx="474">
                  <c:v>0.2549458858974494</c:v>
                </c:pt>
                <c:pt idx="475">
                  <c:v>0.2514659766793459</c:v>
                </c:pt>
                <c:pt idx="476">
                  <c:v>0.27003411896546026</c:v>
                </c:pt>
                <c:pt idx="477">
                  <c:v>0.256472726741342</c:v>
                </c:pt>
                <c:pt idx="478">
                  <c:v>0.26216108166681895</c:v>
                </c:pt>
                <c:pt idx="479">
                  <c:v>0.2957296950152921</c:v>
                </c:pt>
                <c:pt idx="480">
                  <c:v>0.3049666847475452</c:v>
                </c:pt>
                <c:pt idx="481">
                  <c:v>0.3233217429962518</c:v>
                </c:pt>
                <c:pt idx="482">
                  <c:v>0.32506778887674526</c:v>
                </c:pt>
                <c:pt idx="483">
                  <c:v>0.3353522919015228</c:v>
                </c:pt>
                <c:pt idx="484">
                  <c:v>0.33269150885050025</c:v>
                </c:pt>
                <c:pt idx="485">
                  <c:v>0.3335147071171354</c:v>
                </c:pt>
                <c:pt idx="486">
                  <c:v>0.3297963333122693</c:v>
                </c:pt>
                <c:pt idx="487">
                  <c:v>0.33796904334641553</c:v>
                </c:pt>
                <c:pt idx="488">
                  <c:v>0.3277474906312281</c:v>
                </c:pt>
                <c:pt idx="489">
                  <c:v>0.33674040371151737</c:v>
                </c:pt>
                <c:pt idx="490">
                  <c:v>0.3538060651818862</c:v>
                </c:pt>
                <c:pt idx="491">
                  <c:v>0.3621843116344541</c:v>
                </c:pt>
                <c:pt idx="492">
                  <c:v>0.35976509962389747</c:v>
                </c:pt>
                <c:pt idx="493">
                  <c:v>0.36886895288383137</c:v>
                </c:pt>
                <c:pt idx="494">
                  <c:v>0.3647276386731153</c:v>
                </c:pt>
                <c:pt idx="495">
                  <c:v>0.37747105279485105</c:v>
                </c:pt>
                <c:pt idx="496">
                  <c:v>0.3541251805328811</c:v>
                </c:pt>
                <c:pt idx="497">
                  <c:v>0.3496007440824611</c:v>
                </c:pt>
                <c:pt idx="498">
                  <c:v>0.332828592284951</c:v>
                </c:pt>
                <c:pt idx="499">
                  <c:v>0.31953011912912466</c:v>
                </c:pt>
                <c:pt idx="500">
                  <c:v>0.33482739979525666</c:v>
                </c:pt>
                <c:pt idx="501">
                  <c:v>0.3641088130461132</c:v>
                </c:pt>
                <c:pt idx="502">
                  <c:v>0.35539889340513975</c:v>
                </c:pt>
                <c:pt idx="503">
                  <c:v>0.3366621534514471</c:v>
                </c:pt>
                <c:pt idx="504">
                  <c:v>0.28894047025766034</c:v>
                </c:pt>
                <c:pt idx="505">
                  <c:v>0.2912496432243621</c:v>
                </c:pt>
                <c:pt idx="506">
                  <c:v>0.3284742848439224</c:v>
                </c:pt>
                <c:pt idx="507">
                  <c:v>0.33858041876472833</c:v>
                </c:pt>
                <c:pt idx="508">
                  <c:v>0.33738365519157587</c:v>
                </c:pt>
                <c:pt idx="509">
                  <c:v>0.3438943892065309</c:v>
                </c:pt>
                <c:pt idx="510">
                  <c:v>0.3245703915441178</c:v>
                </c:pt>
                <c:pt idx="511">
                  <c:v>0.3237138540068023</c:v>
                </c:pt>
                <c:pt idx="512">
                  <c:v>0.3319160118848685</c:v>
                </c:pt>
                <c:pt idx="513">
                  <c:v>0.3317448695620848</c:v>
                </c:pt>
                <c:pt idx="514">
                  <c:v>0.34795476633187605</c:v>
                </c:pt>
                <c:pt idx="515">
                  <c:v>0.35269848885496224</c:v>
                </c:pt>
                <c:pt idx="516">
                  <c:v>0.36189561732513975</c:v>
                </c:pt>
                <c:pt idx="517">
                  <c:v>0.3536023040074836</c:v>
                </c:pt>
                <c:pt idx="518">
                  <c:v>0.3788504168533062</c:v>
                </c:pt>
                <c:pt idx="519">
                  <c:v>0.38882941553907124</c:v>
                </c:pt>
                <c:pt idx="520">
                  <c:v>0.38036376991511367</c:v>
                </c:pt>
                <c:pt idx="521">
                  <c:v>0.37266000141287314</c:v>
                </c:pt>
                <c:pt idx="522">
                  <c:v>0.3916107722514999</c:v>
                </c:pt>
                <c:pt idx="523">
                  <c:v>0.38970737174465464</c:v>
                </c:pt>
                <c:pt idx="524">
                  <c:v>0.4088662989650331</c:v>
                </c:pt>
                <c:pt idx="525">
                  <c:v>0.4049576955103016</c:v>
                </c:pt>
                <c:pt idx="526">
                  <c:v>0.4271777515230808</c:v>
                </c:pt>
                <c:pt idx="527">
                  <c:v>0.43432330807996156</c:v>
                </c:pt>
                <c:pt idx="528">
                  <c:v>0.44066770020468793</c:v>
                </c:pt>
                <c:pt idx="529">
                  <c:v>0.465354578616183</c:v>
                </c:pt>
                <c:pt idx="530">
                  <c:v>0.46097782893401607</c:v>
                </c:pt>
                <c:pt idx="531">
                  <c:v>0.4485731630506069</c:v>
                </c:pt>
                <c:pt idx="532">
                  <c:v>0.4364134485035218</c:v>
                </c:pt>
                <c:pt idx="533">
                  <c:v>0.4570036122235688</c:v>
                </c:pt>
                <c:pt idx="534">
                  <c:v>0.4389893287489155</c:v>
                </c:pt>
                <c:pt idx="535">
                  <c:v>0.45210613784708964</c:v>
                </c:pt>
                <c:pt idx="536">
                  <c:v>0.45123518122474193</c:v>
                </c:pt>
                <c:pt idx="537">
                  <c:v>0.4677128251460543</c:v>
                </c:pt>
                <c:pt idx="538">
                  <c:v>0.43498947363308504</c:v>
                </c:pt>
                <c:pt idx="539">
                  <c:v>0.428020718524009</c:v>
                </c:pt>
                <c:pt idx="540">
                  <c:v>0.41015788331319647</c:v>
                </c:pt>
                <c:pt idx="541">
                  <c:v>0.40123091954085366</c:v>
                </c:pt>
                <c:pt idx="542">
                  <c:v>0.4142526938301325</c:v>
                </c:pt>
                <c:pt idx="543">
                  <c:v>0.41637534019752453</c:v>
                </c:pt>
                <c:pt idx="544">
                  <c:v>0.4136033705666502</c:v>
                </c:pt>
                <c:pt idx="545">
                  <c:v>0.4121017615115077</c:v>
                </c:pt>
                <c:pt idx="546">
                  <c:v>0.415594199109671</c:v>
                </c:pt>
                <c:pt idx="547">
                  <c:v>0.4127198939203107</c:v>
                </c:pt>
                <c:pt idx="548">
                  <c:v>0.4226864077128014</c:v>
                </c:pt>
                <c:pt idx="549">
                  <c:v>0.4358494057242095</c:v>
                </c:pt>
                <c:pt idx="550">
                  <c:v>0.4425790480404923</c:v>
                </c:pt>
                <c:pt idx="551">
                  <c:v>0.45085522171055525</c:v>
                </c:pt>
                <c:pt idx="552">
                  <c:v>0.4555936728010066</c:v>
                </c:pt>
                <c:pt idx="553">
                  <c:v>0.47841771154904733</c:v>
                </c:pt>
                <c:pt idx="554">
                  <c:v>0.49504084638493584</c:v>
                </c:pt>
                <c:pt idx="555">
                  <c:v>0.48858019749640813</c:v>
                </c:pt>
                <c:pt idx="556">
                  <c:v>0.4962253869893438</c:v>
                </c:pt>
                <c:pt idx="557">
                  <c:v>0.4814668711783825</c:v>
                </c:pt>
                <c:pt idx="558">
                  <c:v>0.4646189158786649</c:v>
                </c:pt>
                <c:pt idx="559">
                  <c:v>0.45291137549607896</c:v>
                </c:pt>
                <c:pt idx="560">
                  <c:v>0.43209935284812295</c:v>
                </c:pt>
                <c:pt idx="561">
                  <c:v>0.464721219314016</c:v>
                </c:pt>
                <c:pt idx="562">
                  <c:v>0.4768439459344074</c:v>
                </c:pt>
                <c:pt idx="563">
                  <c:v>0.47572920536251173</c:v>
                </c:pt>
                <c:pt idx="564">
                  <c:v>0.504273119140014</c:v>
                </c:pt>
                <c:pt idx="565">
                  <c:v>0.5155166888091183</c:v>
                </c:pt>
                <c:pt idx="566">
                  <c:v>0.5139001494138196</c:v>
                </c:pt>
                <c:pt idx="567">
                  <c:v>0.5110850155144155</c:v>
                </c:pt>
                <c:pt idx="568">
                  <c:v>0.5263986933486327</c:v>
                </c:pt>
                <c:pt idx="569">
                  <c:v>0.5263590845125761</c:v>
                </c:pt>
                <c:pt idx="570">
                  <c:v>0.507914093441932</c:v>
                </c:pt>
                <c:pt idx="571">
                  <c:v>0.5189397272245371</c:v>
                </c:pt>
                <c:pt idx="572">
                  <c:v>0.5234044078484836</c:v>
                </c:pt>
                <c:pt idx="573">
                  <c:v>0.511069249299205</c:v>
                </c:pt>
                <c:pt idx="574">
                  <c:v>0.49677504019032437</c:v>
                </c:pt>
                <c:pt idx="575">
                  <c:v>0.44221973261409797</c:v>
                </c:pt>
                <c:pt idx="576">
                  <c:v>0.44110943661800084</c:v>
                </c:pt>
                <c:pt idx="577">
                  <c:v>0.4259225292041402</c:v>
                </c:pt>
                <c:pt idx="578">
                  <c:v>0.41356522750891456</c:v>
                </c:pt>
                <c:pt idx="579">
                  <c:v>0.41908211279198126</c:v>
                </c:pt>
                <c:pt idx="580">
                  <c:v>0.3872318667712722</c:v>
                </c:pt>
                <c:pt idx="581">
                  <c:v>0.3626191505220535</c:v>
                </c:pt>
                <c:pt idx="582">
                  <c:v>0.3705080730943495</c:v>
                </c:pt>
                <c:pt idx="583">
                  <c:v>0.3235786462530559</c:v>
                </c:pt>
                <c:pt idx="584">
                  <c:v>0.29107167748655827</c:v>
                </c:pt>
                <c:pt idx="585">
                  <c:v>0.30431787646050257</c:v>
                </c:pt>
                <c:pt idx="586">
                  <c:v>0.29032536318845703</c:v>
                </c:pt>
                <c:pt idx="587">
                  <c:v>0.28064030702707554</c:v>
                </c:pt>
                <c:pt idx="588">
                  <c:v>0.25582797492748033</c:v>
                </c:pt>
                <c:pt idx="589">
                  <c:v>0.23990789885269836</c:v>
                </c:pt>
                <c:pt idx="590">
                  <c:v>0.23048022152982517</c:v>
                </c:pt>
                <c:pt idx="591">
                  <c:v>0.21113736683031226</c:v>
                </c:pt>
                <c:pt idx="592">
                  <c:v>0.2286407507206143</c:v>
                </c:pt>
                <c:pt idx="593">
                  <c:v>0.20991416236006666</c:v>
                </c:pt>
                <c:pt idx="594">
                  <c:v>0.19573377785803037</c:v>
                </c:pt>
                <c:pt idx="595">
                  <c:v>0.20124524873149152</c:v>
                </c:pt>
                <c:pt idx="596">
                  <c:v>0.1955227145183429</c:v>
                </c:pt>
                <c:pt idx="597">
                  <c:v>0.21645108564386373</c:v>
                </c:pt>
                <c:pt idx="598">
                  <c:v>0.22353157522989142</c:v>
                </c:pt>
                <c:pt idx="599">
                  <c:v>0.20943671417157517</c:v>
                </c:pt>
                <c:pt idx="600">
                  <c:v>0.21590284520222736</c:v>
                </c:pt>
                <c:pt idx="601">
                  <c:v>0.20977880530723714</c:v>
                </c:pt>
                <c:pt idx="602">
                  <c:v>0.2096016108766423</c:v>
                </c:pt>
                <c:pt idx="603">
                  <c:v>0.21654732176700375</c:v>
                </c:pt>
                <c:pt idx="604">
                  <c:v>0.21040129935621765</c:v>
                </c:pt>
                <c:pt idx="605">
                  <c:v>0.2220234502634988</c:v>
                </c:pt>
                <c:pt idx="606">
                  <c:v>0.24346833349893693</c:v>
                </c:pt>
                <c:pt idx="607">
                  <c:v>0.24932126925751041</c:v>
                </c:pt>
                <c:pt idx="608">
                  <c:v>0.22987786431855994</c:v>
                </c:pt>
                <c:pt idx="609">
                  <c:v>0.23699702895310804</c:v>
                </c:pt>
                <c:pt idx="610">
                  <c:v>0.2306365960755099</c:v>
                </c:pt>
                <c:pt idx="611">
                  <c:v>0.24308373283439666</c:v>
                </c:pt>
                <c:pt idx="612">
                  <c:v>0.22880655557443697</c:v>
                </c:pt>
                <c:pt idx="613">
                  <c:v>0.2366431116041754</c:v>
                </c:pt>
                <c:pt idx="614">
                  <c:v>0.22772358870542497</c:v>
                </c:pt>
                <c:pt idx="615">
                  <c:v>0.2133162165700926</c:v>
                </c:pt>
                <c:pt idx="616">
                  <c:v>0.22207010446983033</c:v>
                </c:pt>
                <c:pt idx="617">
                  <c:v>0.2548261280964985</c:v>
                </c:pt>
                <c:pt idx="618">
                  <c:v>0.24772785272168352</c:v>
                </c:pt>
                <c:pt idx="619">
                  <c:v>0.25670216540108504</c:v>
                </c:pt>
                <c:pt idx="620">
                  <c:v>0.2576832085147214</c:v>
                </c:pt>
                <c:pt idx="621">
                  <c:v>0.25863278814152113</c:v>
                </c:pt>
                <c:pt idx="622">
                  <c:v>0.26241457407917923</c:v>
                </c:pt>
                <c:pt idx="623">
                  <c:v>0.2687085460913359</c:v>
                </c:pt>
                <c:pt idx="624">
                  <c:v>0.2772580107317424</c:v>
                </c:pt>
                <c:pt idx="625">
                  <c:v>0.2871360185918381</c:v>
                </c:pt>
                <c:pt idx="626">
                  <c:v>0.28483209057017844</c:v>
                </c:pt>
                <c:pt idx="627">
                  <c:v>0.3155033389057009</c:v>
                </c:pt>
                <c:pt idx="628">
                  <c:v>0.3030908183564698</c:v>
                </c:pt>
                <c:pt idx="629">
                  <c:v>0.2738085262132499</c:v>
                </c:pt>
                <c:pt idx="630">
                  <c:v>0.29148861973515205</c:v>
                </c:pt>
                <c:pt idx="631">
                  <c:v>0.3257233591389246</c:v>
                </c:pt>
                <c:pt idx="632">
                  <c:v>0.3230279204366229</c:v>
                </c:pt>
                <c:pt idx="633">
                  <c:v>0.30728435388858366</c:v>
                </c:pt>
                <c:pt idx="634">
                  <c:v>0.3057127433567135</c:v>
                </c:pt>
                <c:pt idx="635">
                  <c:v>0.3027499270372671</c:v>
                </c:pt>
                <c:pt idx="636">
                  <c:v>0.30098564343910716</c:v>
                </c:pt>
                <c:pt idx="637">
                  <c:v>0.30550764386281304</c:v>
                </c:pt>
                <c:pt idx="638">
                  <c:v>0.31530312754514855</c:v>
                </c:pt>
                <c:pt idx="639">
                  <c:v>0.3358213940975572</c:v>
                </c:pt>
                <c:pt idx="640">
                  <c:v>0.31593725117807536</c:v>
                </c:pt>
                <c:pt idx="641">
                  <c:v>0.3340174619512313</c:v>
                </c:pt>
                <c:pt idx="642">
                  <c:v>0.3606317871022173</c:v>
                </c:pt>
                <c:pt idx="643">
                  <c:v>0.3634668310035414</c:v>
                </c:pt>
                <c:pt idx="644">
                  <c:v>0.35928540664715425</c:v>
                </c:pt>
                <c:pt idx="645">
                  <c:v>0.331819256074561</c:v>
                </c:pt>
                <c:pt idx="646">
                  <c:v>0.2894294367544821</c:v>
                </c:pt>
                <c:pt idx="647">
                  <c:v>0.27175292806569007</c:v>
                </c:pt>
                <c:pt idx="648">
                  <c:v>0.2935259352150341</c:v>
                </c:pt>
                <c:pt idx="649">
                  <c:v>0.28930980705461273</c:v>
                </c:pt>
                <c:pt idx="650">
                  <c:v>0.3125229761215751</c:v>
                </c:pt>
                <c:pt idx="651">
                  <c:v>0.30930135600499087</c:v>
                </c:pt>
                <c:pt idx="652">
                  <c:v>0.3347042443695334</c:v>
                </c:pt>
                <c:pt idx="653">
                  <c:v>0.1895801448053418</c:v>
                </c:pt>
                <c:pt idx="654">
                  <c:v>0.195399389739769</c:v>
                </c:pt>
                <c:pt idx="655">
                  <c:v>0.21681834178077497</c:v>
                </c:pt>
                <c:pt idx="656">
                  <c:v>0.20731992003935473</c:v>
                </c:pt>
                <c:pt idx="657">
                  <c:v>0.20989786570129065</c:v>
                </c:pt>
                <c:pt idx="658">
                  <c:v>0.17339415672391478</c:v>
                </c:pt>
                <c:pt idx="659">
                  <c:v>0.17873789691862196</c:v>
                </c:pt>
                <c:pt idx="660">
                  <c:v>0.17663285118431715</c:v>
                </c:pt>
                <c:pt idx="661">
                  <c:v>0.17718106623875696</c:v>
                </c:pt>
                <c:pt idx="662">
                  <c:v>0.1770043005106554</c:v>
                </c:pt>
                <c:pt idx="663">
                  <c:v>0.17370605325392696</c:v>
                </c:pt>
                <c:pt idx="664">
                  <c:v>0.17332450041595737</c:v>
                </c:pt>
                <c:pt idx="665">
                  <c:v>0.16243157998353452</c:v>
                </c:pt>
                <c:pt idx="666">
                  <c:v>0.16116641441921575</c:v>
                </c:pt>
                <c:pt idx="667">
                  <c:v>0.16872464903949802</c:v>
                </c:pt>
                <c:pt idx="668">
                  <c:v>0.14781728912002579</c:v>
                </c:pt>
                <c:pt idx="669">
                  <c:v>0.1672400603101214</c:v>
                </c:pt>
                <c:pt idx="670">
                  <c:v>0.1764682816431935</c:v>
                </c:pt>
                <c:pt idx="671">
                  <c:v>0.18004181896054416</c:v>
                </c:pt>
                <c:pt idx="672">
                  <c:v>0.14260556842944827</c:v>
                </c:pt>
                <c:pt idx="673">
                  <c:v>0.1460794117537989</c:v>
                </c:pt>
                <c:pt idx="674">
                  <c:v>0.16568972043117713</c:v>
                </c:pt>
                <c:pt idx="675">
                  <c:v>0.16612889202271353</c:v>
                </c:pt>
                <c:pt idx="676">
                  <c:v>0.20747925231363884</c:v>
                </c:pt>
                <c:pt idx="677">
                  <c:v>0.21284262361986128</c:v>
                </c:pt>
                <c:pt idx="678">
                  <c:v>0.21785552030331234</c:v>
                </c:pt>
                <c:pt idx="679">
                  <c:v>0.22527318746784286</c:v>
                </c:pt>
                <c:pt idx="680">
                  <c:v>0.25597967820241374</c:v>
                </c:pt>
                <c:pt idx="681">
                  <c:v>0.2669186045483427</c:v>
                </c:pt>
                <c:pt idx="682">
                  <c:v>0.2925889594840365</c:v>
                </c:pt>
                <c:pt idx="683">
                  <c:v>0.3018955342707723</c:v>
                </c:pt>
                <c:pt idx="684">
                  <c:v>0.29709626433736247</c:v>
                </c:pt>
                <c:pt idx="685">
                  <c:v>0.29177624979070416</c:v>
                </c:pt>
                <c:pt idx="686">
                  <c:v>0.3145847434473139</c:v>
                </c:pt>
                <c:pt idx="687">
                  <c:v>0.3304619360561001</c:v>
                </c:pt>
                <c:pt idx="688">
                  <c:v>0.31953306750875443</c:v>
                </c:pt>
                <c:pt idx="689">
                  <c:v>0.2674102126831013</c:v>
                </c:pt>
                <c:pt idx="690">
                  <c:v>0.257771101835333</c:v>
                </c:pt>
                <c:pt idx="691">
                  <c:v>0.25540053756088943</c:v>
                </c:pt>
                <c:pt idx="692">
                  <c:v>0.26731995014820886</c:v>
                </c:pt>
                <c:pt idx="693">
                  <c:v>0.24565423989301194</c:v>
                </c:pt>
                <c:pt idx="694">
                  <c:v>0.2621772465029588</c:v>
                </c:pt>
                <c:pt idx="695">
                  <c:v>0.2597418376344387</c:v>
                </c:pt>
                <c:pt idx="696">
                  <c:v>0.2467751706634671</c:v>
                </c:pt>
                <c:pt idx="697">
                  <c:v>0.2366668066851505</c:v>
                </c:pt>
                <c:pt idx="698">
                  <c:v>0.22647174642984402</c:v>
                </c:pt>
                <c:pt idx="699">
                  <c:v>0.2246804915357299</c:v>
                </c:pt>
                <c:pt idx="700">
                  <c:v>0.2358415607531883</c:v>
                </c:pt>
                <c:pt idx="701">
                  <c:v>0.2642516665871064</c:v>
                </c:pt>
                <c:pt idx="702">
                  <c:v>0.21835457585179463</c:v>
                </c:pt>
                <c:pt idx="703">
                  <c:v>0.2027856436224389</c:v>
                </c:pt>
                <c:pt idx="704">
                  <c:v>0.2216045959625499</c:v>
                </c:pt>
                <c:pt idx="705">
                  <c:v>0.21082807816598992</c:v>
                </c:pt>
                <c:pt idx="706">
                  <c:v>0.2008987292522788</c:v>
                </c:pt>
                <c:pt idx="707">
                  <c:v>0.21846782712014323</c:v>
                </c:pt>
                <c:pt idx="708">
                  <c:v>0.22715389335849334</c:v>
                </c:pt>
                <c:pt idx="709">
                  <c:v>0.24592329027277593</c:v>
                </c:pt>
                <c:pt idx="710">
                  <c:v>0.2522343389599382</c:v>
                </c:pt>
                <c:pt idx="711">
                  <c:v>0.2611449939005779</c:v>
                </c:pt>
                <c:pt idx="712">
                  <c:v>0.2493113651205583</c:v>
                </c:pt>
                <c:pt idx="713">
                  <c:v>0.24973012906491654</c:v>
                </c:pt>
                <c:pt idx="714">
                  <c:v>0.23214180337868862</c:v>
                </c:pt>
                <c:pt idx="715">
                  <c:v>0.2302905623906415</c:v>
                </c:pt>
                <c:pt idx="716">
                  <c:v>0.20717309391669536</c:v>
                </c:pt>
                <c:pt idx="717">
                  <c:v>0.21703867820196</c:v>
                </c:pt>
                <c:pt idx="718">
                  <c:v>0.22137036344515315</c:v>
                </c:pt>
                <c:pt idx="719">
                  <c:v>0.21005844313688837</c:v>
                </c:pt>
                <c:pt idx="720">
                  <c:v>0.20949733915687774</c:v>
                </c:pt>
                <c:pt idx="721">
                  <c:v>0.23316682286709334</c:v>
                </c:pt>
                <c:pt idx="722">
                  <c:v>0.21105899363968672</c:v>
                </c:pt>
                <c:pt idx="723">
                  <c:v>0.20761674794681273</c:v>
                </c:pt>
                <c:pt idx="724">
                  <c:v>0.19562161473995232</c:v>
                </c:pt>
                <c:pt idx="725">
                  <c:v>0.22424734931322954</c:v>
                </c:pt>
                <c:pt idx="726">
                  <c:v>0.2280848460859195</c:v>
                </c:pt>
                <c:pt idx="727">
                  <c:v>0.2375896256805916</c:v>
                </c:pt>
                <c:pt idx="728">
                  <c:v>0.23321463913950558</c:v>
                </c:pt>
                <c:pt idx="729">
                  <c:v>0.22199205429084</c:v>
                </c:pt>
                <c:pt idx="730">
                  <c:v>0.2378792107494796</c:v>
                </c:pt>
                <c:pt idx="731">
                  <c:v>0.242259944696962</c:v>
                </c:pt>
                <c:pt idx="732">
                  <c:v>0.26056060904908973</c:v>
                </c:pt>
                <c:pt idx="733">
                  <c:v>0.2588804400662186</c:v>
                </c:pt>
                <c:pt idx="734">
                  <c:v>0.26277335838347615</c:v>
                </c:pt>
                <c:pt idx="735">
                  <c:v>0.2655945508651021</c:v>
                </c:pt>
                <c:pt idx="736">
                  <c:v>0.28442134913225225</c:v>
                </c:pt>
                <c:pt idx="737">
                  <c:v>0.3001331514070589</c:v>
                </c:pt>
                <c:pt idx="738">
                  <c:v>0.28444154496874696</c:v>
                </c:pt>
                <c:pt idx="739">
                  <c:v>0.226679920755112</c:v>
                </c:pt>
                <c:pt idx="740">
                  <c:v>0.2389057258870273</c:v>
                </c:pt>
                <c:pt idx="741">
                  <c:v>0.2534422879424847</c:v>
                </c:pt>
                <c:pt idx="742">
                  <c:v>0.23381158714352712</c:v>
                </c:pt>
                <c:pt idx="743">
                  <c:v>0.2233175166534176</c:v>
                </c:pt>
                <c:pt idx="744">
                  <c:v>0.22827641363695061</c:v>
                </c:pt>
                <c:pt idx="745">
                  <c:v>0.25226366413564527</c:v>
                </c:pt>
                <c:pt idx="746">
                  <c:v>0.2774123217137734</c:v>
                </c:pt>
                <c:pt idx="747">
                  <c:v>0.284252643621141</c:v>
                </c:pt>
                <c:pt idx="748">
                  <c:v>0.28029546488322166</c:v>
                </c:pt>
                <c:pt idx="749">
                  <c:v>0.26776639262962365</c:v>
                </c:pt>
                <c:pt idx="750">
                  <c:v>0.28000342896990116</c:v>
                </c:pt>
                <c:pt idx="751">
                  <c:v>0.27600919695570414</c:v>
                </c:pt>
                <c:pt idx="752">
                  <c:v>0.24749267991465462</c:v>
                </c:pt>
                <c:pt idx="753">
                  <c:v>0.27430575004999014</c:v>
                </c:pt>
                <c:pt idx="754">
                  <c:v>0.2964902660534092</c:v>
                </c:pt>
                <c:pt idx="755">
                  <c:v>0.31106600924306127</c:v>
                </c:pt>
                <c:pt idx="756">
                  <c:v>0.31220895009196403</c:v>
                </c:pt>
                <c:pt idx="757">
                  <c:v>0.32766146733519164</c:v>
                </c:pt>
                <c:pt idx="758">
                  <c:v>0.34718850971335735</c:v>
                </c:pt>
                <c:pt idx="759">
                  <c:v>0.3532616637312118</c:v>
                </c:pt>
                <c:pt idx="760">
                  <c:v>0.3706800486489614</c:v>
                </c:pt>
                <c:pt idx="761">
                  <c:v>0.37957031488642246</c:v>
                </c:pt>
                <c:pt idx="762">
                  <c:v>0.38988968742161</c:v>
                </c:pt>
                <c:pt idx="763">
                  <c:v>0.3998763578311735</c:v>
                </c:pt>
                <c:pt idx="764">
                  <c:v>0.4193062174063893</c:v>
                </c:pt>
                <c:pt idx="765">
                  <c:v>0.39537153769357536</c:v>
                </c:pt>
                <c:pt idx="766">
                  <c:v>0.40308809384705735</c:v>
                </c:pt>
                <c:pt idx="767">
                  <c:v>0.3928894432848953</c:v>
                </c:pt>
                <c:pt idx="768">
                  <c:v>0.3765808124240595</c:v>
                </c:pt>
                <c:pt idx="769">
                  <c:v>0.39919426042703154</c:v>
                </c:pt>
                <c:pt idx="770">
                  <c:v>0.41338527355934973</c:v>
                </c:pt>
                <c:pt idx="771">
                  <c:v>0.4287370578611822</c:v>
                </c:pt>
                <c:pt idx="772">
                  <c:v>0.442409995997344</c:v>
                </c:pt>
                <c:pt idx="773">
                  <c:v>0.4750223861893661</c:v>
                </c:pt>
                <c:pt idx="774">
                  <c:v>0.4688599440779253</c:v>
                </c:pt>
                <c:pt idx="775">
                  <c:v>0.4723507986223907</c:v>
                </c:pt>
                <c:pt idx="776">
                  <c:v>0.4577186087488516</c:v>
                </c:pt>
                <c:pt idx="777">
                  <c:v>0.46711252982873885</c:v>
                </c:pt>
                <c:pt idx="778">
                  <c:v>0.4755234631635292</c:v>
                </c:pt>
                <c:pt idx="779">
                  <c:v>0.4599778210789165</c:v>
                </c:pt>
                <c:pt idx="780">
                  <c:v>0.46870798798835644</c:v>
                </c:pt>
                <c:pt idx="781">
                  <c:v>0.47499814549425534</c:v>
                </c:pt>
                <c:pt idx="782">
                  <c:v>0.5008501888382542</c:v>
                </c:pt>
                <c:pt idx="783">
                  <c:v>0.5142753337313615</c:v>
                </c:pt>
                <c:pt idx="784">
                  <c:v>0.5150515384721632</c:v>
                </c:pt>
                <c:pt idx="785">
                  <c:v>0.525077217566998</c:v>
                </c:pt>
                <c:pt idx="786">
                  <c:v>0.5271803566255706</c:v>
                </c:pt>
                <c:pt idx="787">
                  <c:v>0.5295768062474842</c:v>
                </c:pt>
                <c:pt idx="788">
                  <c:v>0.5144074187134937</c:v>
                </c:pt>
                <c:pt idx="789">
                  <c:v>0.5129157382533587</c:v>
                </c:pt>
                <c:pt idx="790">
                  <c:v>0.5028731042852297</c:v>
                </c:pt>
                <c:pt idx="791">
                  <c:v>0.4828557139704295</c:v>
                </c:pt>
                <c:pt idx="792">
                  <c:v>0.49948126452888486</c:v>
                </c:pt>
                <c:pt idx="793">
                  <c:v>0.5251822732439246</c:v>
                </c:pt>
                <c:pt idx="794">
                  <c:v>0.5053746496959199</c:v>
                </c:pt>
                <c:pt idx="795">
                  <c:v>0.5183662429448572</c:v>
                </c:pt>
                <c:pt idx="796">
                  <c:v>0.5334119817920189</c:v>
                </c:pt>
                <c:pt idx="797">
                  <c:v>0.5495321677237359</c:v>
                </c:pt>
                <c:pt idx="798">
                  <c:v>0.5649046397124649</c:v>
                </c:pt>
                <c:pt idx="799">
                  <c:v>0.5718611071489659</c:v>
                </c:pt>
                <c:pt idx="800">
                  <c:v>0.5660852681533914</c:v>
                </c:pt>
                <c:pt idx="801">
                  <c:v>0.5593903221759351</c:v>
                </c:pt>
                <c:pt idx="802">
                  <c:v>0.5717221610454957</c:v>
                </c:pt>
                <c:pt idx="803">
                  <c:v>0.5780926029528777</c:v>
                </c:pt>
                <c:pt idx="804">
                  <c:v>0.5981022578195694</c:v>
                </c:pt>
                <c:pt idx="805">
                  <c:v>0.6136781107930682</c:v>
                </c:pt>
                <c:pt idx="806">
                  <c:v>0.6214448806677455</c:v>
                </c:pt>
                <c:pt idx="807">
                  <c:v>0.6062525042218065</c:v>
                </c:pt>
                <c:pt idx="808">
                  <c:v>0.6036562643986332</c:v>
                </c:pt>
                <c:pt idx="809">
                  <c:v>0.6131430818609163</c:v>
                </c:pt>
                <c:pt idx="810">
                  <c:v>0.6107720989497847</c:v>
                </c:pt>
                <c:pt idx="811">
                  <c:v>0.6026538171926419</c:v>
                </c:pt>
                <c:pt idx="812">
                  <c:v>0.6128819446387754</c:v>
                </c:pt>
                <c:pt idx="813">
                  <c:v>0.6132099827130904</c:v>
                </c:pt>
                <c:pt idx="814">
                  <c:v>0.6070113226194163</c:v>
                </c:pt>
                <c:pt idx="815">
                  <c:v>0.6210392399832958</c:v>
                </c:pt>
                <c:pt idx="816">
                  <c:v>0.6144532958587752</c:v>
                </c:pt>
                <c:pt idx="817">
                  <c:v>0.6189237036274489</c:v>
                </c:pt>
                <c:pt idx="818">
                  <c:v>0.6238540357450375</c:v>
                </c:pt>
                <c:pt idx="819">
                  <c:v>0.6096772987909436</c:v>
                </c:pt>
                <c:pt idx="820">
                  <c:v>0.6078060021130907</c:v>
                </c:pt>
                <c:pt idx="821">
                  <c:v>0.6397843560115377</c:v>
                </c:pt>
                <c:pt idx="822">
                  <c:v>0.6299075733265218</c:v>
                </c:pt>
                <c:pt idx="823">
                  <c:v>0.6118578522018587</c:v>
                </c:pt>
                <c:pt idx="824">
                  <c:v>0.5840734058018897</c:v>
                </c:pt>
                <c:pt idx="825">
                  <c:v>0.5852243056105566</c:v>
                </c:pt>
                <c:pt idx="826">
                  <c:v>0.5779569543560543</c:v>
                </c:pt>
                <c:pt idx="827">
                  <c:v>0.5887977333641263</c:v>
                </c:pt>
                <c:pt idx="828">
                  <c:v>0.6113784331343113</c:v>
                </c:pt>
                <c:pt idx="829">
                  <c:v>0.576109755243319</c:v>
                </c:pt>
                <c:pt idx="830">
                  <c:v>0.5901964030646425</c:v>
                </c:pt>
                <c:pt idx="831">
                  <c:v>0.6145004288611213</c:v>
                </c:pt>
                <c:pt idx="832">
                  <c:v>0.5979293300326085</c:v>
                </c:pt>
                <c:pt idx="833">
                  <c:v>0.6200320088545022</c:v>
                </c:pt>
                <c:pt idx="834">
                  <c:v>0.608421706176588</c:v>
                </c:pt>
                <c:pt idx="835">
                  <c:v>0.6039007414229081</c:v>
                </c:pt>
                <c:pt idx="836">
                  <c:v>0.6105588994565285</c:v>
                </c:pt>
                <c:pt idx="837">
                  <c:v>0.634069535063128</c:v>
                </c:pt>
                <c:pt idx="838">
                  <c:v>0.6633278334640846</c:v>
                </c:pt>
                <c:pt idx="839">
                  <c:v>0.658767948887208</c:v>
                </c:pt>
                <c:pt idx="840">
                  <c:v>0.6967719738298126</c:v>
                </c:pt>
                <c:pt idx="841">
                  <c:v>0.698108990324249</c:v>
                </c:pt>
                <c:pt idx="842">
                  <c:v>0.7283250438012596</c:v>
                </c:pt>
                <c:pt idx="843">
                  <c:v>0.7332462835999005</c:v>
                </c:pt>
                <c:pt idx="844">
                  <c:v>0.7561840502146373</c:v>
                </c:pt>
                <c:pt idx="845">
                  <c:v>0.7630718172135857</c:v>
                </c:pt>
                <c:pt idx="846">
                  <c:v>0.8171083991961485</c:v>
                </c:pt>
                <c:pt idx="847">
                  <c:v>0.8302645546273735</c:v>
                </c:pt>
                <c:pt idx="848">
                  <c:v>0.8204372366316062</c:v>
                </c:pt>
                <c:pt idx="849">
                  <c:v>0.8326332775577518</c:v>
                </c:pt>
                <c:pt idx="850">
                  <c:v>0.8285092531051708</c:v>
                </c:pt>
                <c:pt idx="851">
                  <c:v>0.8223045367448858</c:v>
                </c:pt>
                <c:pt idx="852">
                  <c:v>0.8388541833985486</c:v>
                </c:pt>
                <c:pt idx="853">
                  <c:v>0.8402247054806837</c:v>
                </c:pt>
                <c:pt idx="854">
                  <c:v>0.8427634056508233</c:v>
                </c:pt>
                <c:pt idx="855">
                  <c:v>0.8592109278471711</c:v>
                </c:pt>
                <c:pt idx="856">
                  <c:v>0.8677211586702751</c:v>
                </c:pt>
                <c:pt idx="857">
                  <c:v>0.8802655201059284</c:v>
                </c:pt>
                <c:pt idx="858">
                  <c:v>0.8539610519946808</c:v>
                </c:pt>
                <c:pt idx="859">
                  <c:v>0.8665354322443779</c:v>
                </c:pt>
                <c:pt idx="860">
                  <c:v>0.8499621197873672</c:v>
                </c:pt>
                <c:pt idx="861">
                  <c:v>0.8226546273137529</c:v>
                </c:pt>
                <c:pt idx="862">
                  <c:v>0.826004416190345</c:v>
                </c:pt>
                <c:pt idx="863">
                  <c:v>0.8386826408714512</c:v>
                </c:pt>
                <c:pt idx="864">
                  <c:v>0.826475778152693</c:v>
                </c:pt>
                <c:pt idx="865">
                  <c:v>0.8481121653564712</c:v>
                </c:pt>
                <c:pt idx="866">
                  <c:v>0.8253791584272918</c:v>
                </c:pt>
                <c:pt idx="867">
                  <c:v>0.8191437259907979</c:v>
                </c:pt>
                <c:pt idx="868">
                  <c:v>0.8125581966024145</c:v>
                </c:pt>
                <c:pt idx="869">
                  <c:v>0.8181938021408623</c:v>
                </c:pt>
                <c:pt idx="870">
                  <c:v>0.8290758852049058</c:v>
                </c:pt>
                <c:pt idx="871">
                  <c:v>0.8234198664561942</c:v>
                </c:pt>
                <c:pt idx="872">
                  <c:v>0.8446015762946899</c:v>
                </c:pt>
                <c:pt idx="873">
                  <c:v>0.8465356825494572</c:v>
                </c:pt>
                <c:pt idx="874">
                  <c:v>0.8141779340776456</c:v>
                </c:pt>
                <c:pt idx="875">
                  <c:v>0.7873776074805856</c:v>
                </c:pt>
                <c:pt idx="876">
                  <c:v>0.7934220727307175</c:v>
                </c:pt>
                <c:pt idx="877">
                  <c:v>0.7944834035965713</c:v>
                </c:pt>
                <c:pt idx="878">
                  <c:v>0.7904902906574252</c:v>
                </c:pt>
                <c:pt idx="879">
                  <c:v>0.8001067185587267</c:v>
                </c:pt>
                <c:pt idx="880">
                  <c:v>0.8047740685162015</c:v>
                </c:pt>
                <c:pt idx="881">
                  <c:v>0.8218340045450239</c:v>
                </c:pt>
                <c:pt idx="882">
                  <c:v>0.8205613140104495</c:v>
                </c:pt>
                <c:pt idx="883">
                  <c:v>0.7834292873490019</c:v>
                </c:pt>
                <c:pt idx="884">
                  <c:v>0.7616358285811926</c:v>
                </c:pt>
                <c:pt idx="885">
                  <c:v>0.7566033613547094</c:v>
                </c:pt>
                <c:pt idx="886">
                  <c:v>0.7786926083218051</c:v>
                </c:pt>
                <c:pt idx="887">
                  <c:v>0.7722044274260438</c:v>
                </c:pt>
                <c:pt idx="888">
                  <c:v>0.7308834457892333</c:v>
                </c:pt>
                <c:pt idx="889">
                  <c:v>0.7012178936754092</c:v>
                </c:pt>
                <c:pt idx="890">
                  <c:v>0.6898822141459209</c:v>
                </c:pt>
                <c:pt idx="891">
                  <c:v>0.6756618398615317</c:v>
                </c:pt>
                <c:pt idx="892">
                  <c:v>0.6668159288515287</c:v>
                </c:pt>
                <c:pt idx="893">
                  <c:v>0.6393539301927516</c:v>
                </c:pt>
                <c:pt idx="894">
                  <c:v>0.6352365450210975</c:v>
                </c:pt>
                <c:pt idx="895">
                  <c:v>0.6522736270196952</c:v>
                </c:pt>
                <c:pt idx="896">
                  <c:v>0.5447358525138164</c:v>
                </c:pt>
                <c:pt idx="897">
                  <c:v>0.41612151645767215</c:v>
                </c:pt>
                <c:pt idx="898">
                  <c:v>0.4141782730959582</c:v>
                </c:pt>
                <c:pt idx="899">
                  <c:v>0.4001815552330601</c:v>
                </c:pt>
                <c:pt idx="900">
                  <c:v>0.406563864251551</c:v>
                </c:pt>
                <c:pt idx="901">
                  <c:v>0.40856717021320077</c:v>
                </c:pt>
                <c:pt idx="902">
                  <c:v>0.407228040257261</c:v>
                </c:pt>
                <c:pt idx="903">
                  <c:v>0.4367252216324189</c:v>
                </c:pt>
                <c:pt idx="904">
                  <c:v>0.42982473562457435</c:v>
                </c:pt>
                <c:pt idx="905">
                  <c:v>0.47264282246190903</c:v>
                </c:pt>
                <c:pt idx="906">
                  <c:v>0.4691286450046872</c:v>
                </c:pt>
                <c:pt idx="907">
                  <c:v>0.47760481339791516</c:v>
                </c:pt>
                <c:pt idx="908">
                  <c:v>0.4792512139035172</c:v>
                </c:pt>
                <c:pt idx="909">
                  <c:v>0.46479252526899484</c:v>
                </c:pt>
                <c:pt idx="910">
                  <c:v>0.44954593210860194</c:v>
                </c:pt>
                <c:pt idx="911">
                  <c:v>0.4671880747689774</c:v>
                </c:pt>
                <c:pt idx="912">
                  <c:v>0.4848239291263088</c:v>
                </c:pt>
                <c:pt idx="913">
                  <c:v>0.48245556869335693</c:v>
                </c:pt>
                <c:pt idx="914">
                  <c:v>0.5061601914732412</c:v>
                </c:pt>
                <c:pt idx="915">
                  <c:v>0.5234001885707067</c:v>
                </c:pt>
                <c:pt idx="916">
                  <c:v>0.5448723111400962</c:v>
                </c:pt>
                <c:pt idx="917">
                  <c:v>0.558060553289585</c:v>
                </c:pt>
                <c:pt idx="918">
                  <c:v>0.5946087505321456</c:v>
                </c:pt>
                <c:pt idx="919">
                  <c:v>0.582169002493691</c:v>
                </c:pt>
                <c:pt idx="920">
                  <c:v>0.5847374246369543</c:v>
                </c:pt>
                <c:pt idx="921">
                  <c:v>0.5841117526430855</c:v>
                </c:pt>
                <c:pt idx="922">
                  <c:v>0.5866188402661683</c:v>
                </c:pt>
                <c:pt idx="923">
                  <c:v>0.5787194338186754</c:v>
                </c:pt>
                <c:pt idx="924">
                  <c:v>0.5880525067523168</c:v>
                </c:pt>
                <c:pt idx="925">
                  <c:v>0.6514272397940939</c:v>
                </c:pt>
                <c:pt idx="926">
                  <c:v>0.6569426542978289</c:v>
                </c:pt>
                <c:pt idx="927">
                  <c:v>0.6723847973757069</c:v>
                </c:pt>
                <c:pt idx="928">
                  <c:v>0.6869286153197065</c:v>
                </c:pt>
                <c:pt idx="929">
                  <c:v>0.6889011008607362</c:v>
                </c:pt>
                <c:pt idx="930">
                  <c:v>0.6897576413491382</c:v>
                </c:pt>
                <c:pt idx="931">
                  <c:v>0.699934563686526</c:v>
                </c:pt>
                <c:pt idx="932">
                  <c:v>0.7598335662614188</c:v>
                </c:pt>
                <c:pt idx="933">
                  <c:v>0.6986032065391308</c:v>
                </c:pt>
                <c:pt idx="934">
                  <c:v>0.6908893542138956</c:v>
                </c:pt>
                <c:pt idx="935">
                  <c:v>0.6716552442636659</c:v>
                </c:pt>
                <c:pt idx="936">
                  <c:v>0.654130926547523</c:v>
                </c:pt>
                <c:pt idx="937">
                  <c:v>0.6534943689096073</c:v>
                </c:pt>
                <c:pt idx="938">
                  <c:v>0.6828693171833922</c:v>
                </c:pt>
                <c:pt idx="939">
                  <c:v>0.6990046682411588</c:v>
                </c:pt>
                <c:pt idx="940">
                  <c:v>0.6862964248101988</c:v>
                </c:pt>
                <c:pt idx="941">
                  <c:v>0.6932652143813698</c:v>
                </c:pt>
                <c:pt idx="942">
                  <c:v>0.7062461951975096</c:v>
                </c:pt>
                <c:pt idx="943">
                  <c:v>0.7264701768545025</c:v>
                </c:pt>
                <c:pt idx="944">
                  <c:v>0.7319930030055062</c:v>
                </c:pt>
                <c:pt idx="945">
                  <c:v>0.7193048273159708</c:v>
                </c:pt>
                <c:pt idx="946">
                  <c:v>0.7218169689270388</c:v>
                </c:pt>
                <c:pt idx="947">
                  <c:v>0.6893474535697359</c:v>
                </c:pt>
                <c:pt idx="948">
                  <c:v>0.6981115739006618</c:v>
                </c:pt>
                <c:pt idx="949">
                  <c:v>0.6516652151485838</c:v>
                </c:pt>
                <c:pt idx="950">
                  <c:v>0.6253659111792673</c:v>
                </c:pt>
                <c:pt idx="951">
                  <c:v>0.6330730740345485</c:v>
                </c:pt>
                <c:pt idx="952">
                  <c:v>0.637106065287171</c:v>
                </c:pt>
                <c:pt idx="953">
                  <c:v>0.6292701287878075</c:v>
                </c:pt>
                <c:pt idx="954">
                  <c:v>0.6190678739184698</c:v>
                </c:pt>
                <c:pt idx="955">
                  <c:v>0.6503189609614903</c:v>
                </c:pt>
                <c:pt idx="956">
                  <c:v>0.6674323514759573</c:v>
                </c:pt>
                <c:pt idx="957">
                  <c:v>0.7037119159956131</c:v>
                </c:pt>
                <c:pt idx="958">
                  <c:v>0.7044475130288428</c:v>
                </c:pt>
                <c:pt idx="959">
                  <c:v>0.7148901630664166</c:v>
                </c:pt>
                <c:pt idx="960">
                  <c:v>0.7575129247962806</c:v>
                </c:pt>
                <c:pt idx="961">
                  <c:v>0.7603006836346788</c:v>
                </c:pt>
                <c:pt idx="962">
                  <c:v>0.7636304610107578</c:v>
                </c:pt>
                <c:pt idx="963">
                  <c:v>0.7759402304439134</c:v>
                </c:pt>
                <c:pt idx="964">
                  <c:v>0.776138599426774</c:v>
                </c:pt>
                <c:pt idx="965">
                  <c:v>0.7539101436926698</c:v>
                </c:pt>
                <c:pt idx="966">
                  <c:v>0.7663160069515882</c:v>
                </c:pt>
                <c:pt idx="967">
                  <c:v>0.7598544109274312</c:v>
                </c:pt>
                <c:pt idx="968">
                  <c:v>0.7856377783116126</c:v>
                </c:pt>
                <c:pt idx="969">
                  <c:v>0.7861428132009005</c:v>
                </c:pt>
                <c:pt idx="970">
                  <c:v>0.792758808767086</c:v>
                </c:pt>
                <c:pt idx="971">
                  <c:v>0.7917571436122037</c:v>
                </c:pt>
                <c:pt idx="972">
                  <c:v>0.7963613487954049</c:v>
                </c:pt>
                <c:pt idx="973">
                  <c:v>0.8073197792967559</c:v>
                </c:pt>
                <c:pt idx="974">
                  <c:v>0.807578934325333</c:v>
                </c:pt>
                <c:pt idx="975">
                  <c:v>0.7857825052442251</c:v>
                </c:pt>
                <c:pt idx="976">
                  <c:v>0.8204652698133739</c:v>
                </c:pt>
                <c:pt idx="977">
                  <c:v>0.8173756655782247</c:v>
                </c:pt>
                <c:pt idx="978">
                  <c:v>0.7937316083877364</c:v>
                </c:pt>
                <c:pt idx="979">
                  <c:v>0.8021015560192448</c:v>
                </c:pt>
                <c:pt idx="980">
                  <c:v>0.8119611539219214</c:v>
                </c:pt>
                <c:pt idx="981">
                  <c:v>0.676785234865602</c:v>
                </c:pt>
                <c:pt idx="982">
                  <c:v>0.6356392101203567</c:v>
                </c:pt>
                <c:pt idx="983">
                  <c:v>0.6873528270821714</c:v>
                </c:pt>
                <c:pt idx="984">
                  <c:v>0.6711957469876642</c:v>
                </c:pt>
                <c:pt idx="985">
                  <c:v>0.6819813503682599</c:v>
                </c:pt>
                <c:pt idx="986">
                  <c:v>0.6602996748539982</c:v>
                </c:pt>
                <c:pt idx="987">
                  <c:v>0.6739189084887574</c:v>
                </c:pt>
                <c:pt idx="988">
                  <c:v>0.7001175664743438</c:v>
                </c:pt>
                <c:pt idx="989">
                  <c:v>0.6917019212051159</c:v>
                </c:pt>
                <c:pt idx="990">
                  <c:v>0.723676645630895</c:v>
                </c:pt>
                <c:pt idx="991">
                  <c:v>0.7746070251985167</c:v>
                </c:pt>
                <c:pt idx="992">
                  <c:v>0.8056564645545028</c:v>
                </c:pt>
                <c:pt idx="993">
                  <c:v>0.8290228776254547</c:v>
                </c:pt>
                <c:pt idx="994">
                  <c:v>0.8405735639591898</c:v>
                </c:pt>
                <c:pt idx="995">
                  <c:v>0.8556892267627167</c:v>
                </c:pt>
                <c:pt idx="996">
                  <c:v>0.8841132052233347</c:v>
                </c:pt>
                <c:pt idx="997">
                  <c:v>0.9029727947083657</c:v>
                </c:pt>
                <c:pt idx="998">
                  <c:v>0.9043092805555131</c:v>
                </c:pt>
                <c:pt idx="999">
                  <c:v>0.9200686867039891</c:v>
                </c:pt>
                <c:pt idx="1000">
                  <c:v>0.919851363466162</c:v>
                </c:pt>
                <c:pt idx="1001">
                  <c:v>0.8076066397211448</c:v>
                </c:pt>
                <c:pt idx="1002">
                  <c:v>0.8182926695820079</c:v>
                </c:pt>
                <c:pt idx="1003">
                  <c:v>0.8415181420676134</c:v>
                </c:pt>
                <c:pt idx="1004">
                  <c:v>0.851271590018867</c:v>
                </c:pt>
                <c:pt idx="1005">
                  <c:v>0.8545231533866815</c:v>
                </c:pt>
                <c:pt idx="1006">
                  <c:v>0.867163124763749</c:v>
                </c:pt>
                <c:pt idx="1007">
                  <c:v>0.8613543916769208</c:v>
                </c:pt>
                <c:pt idx="1008">
                  <c:v>0.8978851218540809</c:v>
                </c:pt>
                <c:pt idx="1009">
                  <c:v>0.8971110467526953</c:v>
                </c:pt>
                <c:pt idx="1010">
                  <c:v>0.8672402099308458</c:v>
                </c:pt>
                <c:pt idx="1011">
                  <c:v>0.9089704491627257</c:v>
                </c:pt>
                <c:pt idx="1012">
                  <c:v>0.894204358112785</c:v>
                </c:pt>
                <c:pt idx="1013">
                  <c:v>0.8652734063584773</c:v>
                </c:pt>
                <c:pt idx="1014">
                  <c:v>0.8475945031115901</c:v>
                </c:pt>
                <c:pt idx="1015">
                  <c:v>0.811021413011267</c:v>
                </c:pt>
                <c:pt idx="1016">
                  <c:v>0.7896373373392047</c:v>
                </c:pt>
                <c:pt idx="1017">
                  <c:v>0.7864446666533651</c:v>
                </c:pt>
                <c:pt idx="1018">
                  <c:v>0.7611763548220434</c:v>
                </c:pt>
                <c:pt idx="1019">
                  <c:v>0.7678752010578229</c:v>
                </c:pt>
                <c:pt idx="1020">
                  <c:v>0.7743788885120788</c:v>
                </c:pt>
                <c:pt idx="1021">
                  <c:v>0.7805048513714985</c:v>
                </c:pt>
                <c:pt idx="1022">
                  <c:v>0.7867843914382537</c:v>
                </c:pt>
                <c:pt idx="1023">
                  <c:v>0.7998745137430054</c:v>
                </c:pt>
                <c:pt idx="1024">
                  <c:v>0.7862664749876858</c:v>
                </c:pt>
                <c:pt idx="1025">
                  <c:v>0.7873389492269098</c:v>
                </c:pt>
                <c:pt idx="1026">
                  <c:v>0.7412787112953987</c:v>
                </c:pt>
                <c:pt idx="1027">
                  <c:v>0.7426587953526884</c:v>
                </c:pt>
                <c:pt idx="1028">
                  <c:v>0.7433662917575412</c:v>
                </c:pt>
                <c:pt idx="1029">
                  <c:v>0.6426707462742471</c:v>
                </c:pt>
                <c:pt idx="1030">
                  <c:v>0.6600798283618254</c:v>
                </c:pt>
                <c:pt idx="1031">
                  <c:v>0.6723934898370445</c:v>
                </c:pt>
                <c:pt idx="1032">
                  <c:v>0.6739304980059844</c:v>
                </c:pt>
                <c:pt idx="1033">
                  <c:v>0.6920465799936706</c:v>
                </c:pt>
                <c:pt idx="1034">
                  <c:v>0.6843220192435144</c:v>
                </c:pt>
                <c:pt idx="1035">
                  <c:v>0.685057680254008</c:v>
                </c:pt>
                <c:pt idx="1036">
                  <c:v>0.7146576276177616</c:v>
                </c:pt>
                <c:pt idx="1037">
                  <c:v>0.7123145792868313</c:v>
                </c:pt>
                <c:pt idx="1038">
                  <c:v>0.733868320687961</c:v>
                </c:pt>
                <c:pt idx="1039">
                  <c:v>0.7902784238084855</c:v>
                </c:pt>
                <c:pt idx="1040">
                  <c:v>0.7749917915519198</c:v>
                </c:pt>
                <c:pt idx="1041">
                  <c:v>0.7922127516506696</c:v>
                </c:pt>
                <c:pt idx="1042">
                  <c:v>0.8049130527533761</c:v>
                </c:pt>
                <c:pt idx="1043">
                  <c:v>0.8165976574932059</c:v>
                </c:pt>
                <c:pt idx="1044">
                  <c:v>0.812740055914408</c:v>
                </c:pt>
                <c:pt idx="1045">
                  <c:v>0.81675094312192</c:v>
                </c:pt>
                <c:pt idx="1046">
                  <c:v>0.8213482502423048</c:v>
                </c:pt>
                <c:pt idx="1047">
                  <c:v>0.857390891816407</c:v>
                </c:pt>
                <c:pt idx="1048">
                  <c:v>0.8413645076394662</c:v>
                </c:pt>
                <c:pt idx="1049">
                  <c:v>0.8498465071674328</c:v>
                </c:pt>
                <c:pt idx="1050">
                  <c:v>0.7658884159089183</c:v>
                </c:pt>
                <c:pt idx="1051">
                  <c:v>0.7917503263594645</c:v>
                </c:pt>
                <c:pt idx="1052">
                  <c:v>0.7929452842892288</c:v>
                </c:pt>
                <c:pt idx="1053">
                  <c:v>0.8455986994387514</c:v>
                </c:pt>
                <c:pt idx="1054">
                  <c:v>0.8263421923525602</c:v>
                </c:pt>
                <c:pt idx="1055">
                  <c:v>0.8527038682892345</c:v>
                </c:pt>
                <c:pt idx="1056">
                  <c:v>0.8561749144202311</c:v>
                </c:pt>
                <c:pt idx="1057">
                  <c:v>0.8653640413817456</c:v>
                </c:pt>
                <c:pt idx="1058">
                  <c:v>0.8721007776845207</c:v>
                </c:pt>
                <c:pt idx="1059">
                  <c:v>0.898968889378233</c:v>
                </c:pt>
                <c:pt idx="1060">
                  <c:v>0.8705554898831924</c:v>
                </c:pt>
                <c:pt idx="1061">
                  <c:v>0.8816736699014456</c:v>
                </c:pt>
                <c:pt idx="1062">
                  <c:v>0.8743605905879055</c:v>
                </c:pt>
                <c:pt idx="1063">
                  <c:v>0.8953651035369126</c:v>
                </c:pt>
                <c:pt idx="1064">
                  <c:v>0.8692921916127778</c:v>
                </c:pt>
                <c:pt idx="1065">
                  <c:v>0.8856968827334124</c:v>
                </c:pt>
                <c:pt idx="1066">
                  <c:v>0.8755273503710976</c:v>
                </c:pt>
                <c:pt idx="1067">
                  <c:v>0.8791794741197458</c:v>
                </c:pt>
                <c:pt idx="1068">
                  <c:v>0.9177553845330881</c:v>
                </c:pt>
                <c:pt idx="1069">
                  <c:v>0.9172090472675334</c:v>
                </c:pt>
                <c:pt idx="1070">
                  <c:v>0.9144858164318932</c:v>
                </c:pt>
                <c:pt idx="1071">
                  <c:v>0.897193192746456</c:v>
                </c:pt>
                <c:pt idx="1072">
                  <c:v>0.899719924175912</c:v>
                </c:pt>
                <c:pt idx="1073">
                  <c:v>0.8673139972295467</c:v>
                </c:pt>
                <c:pt idx="1074">
                  <c:v>0.8595543874179421</c:v>
                </c:pt>
                <c:pt idx="1075">
                  <c:v>0.8743915097981043</c:v>
                </c:pt>
                <c:pt idx="1076">
                  <c:v>0.8987222837995155</c:v>
                </c:pt>
                <c:pt idx="1077">
                  <c:v>0.9502488658172521</c:v>
                </c:pt>
                <c:pt idx="1078">
                  <c:v>0.9227021618842068</c:v>
                </c:pt>
                <c:pt idx="1079">
                  <c:v>0.9161556396910513</c:v>
                </c:pt>
                <c:pt idx="1080">
                  <c:v>0.9239737139201101</c:v>
                </c:pt>
                <c:pt idx="1081">
                  <c:v>0.9416122139126017</c:v>
                </c:pt>
                <c:pt idx="1082">
                  <c:v>0.9560068791923415</c:v>
                </c:pt>
                <c:pt idx="1083">
                  <c:v>0.9580376184341057</c:v>
                </c:pt>
                <c:pt idx="1084">
                  <c:v>0.9609722457071999</c:v>
                </c:pt>
                <c:pt idx="1085">
                  <c:v>0.9544732614364526</c:v>
                </c:pt>
                <c:pt idx="1086">
                  <c:v>0.9483206997040785</c:v>
                </c:pt>
                <c:pt idx="1087">
                  <c:v>0.9184945047096078</c:v>
                </c:pt>
                <c:pt idx="1088">
                  <c:v>0.906062432603403</c:v>
                </c:pt>
                <c:pt idx="1089">
                  <c:v>0.9140887515881535</c:v>
                </c:pt>
                <c:pt idx="1090">
                  <c:v>0.9041109044774733</c:v>
                </c:pt>
                <c:pt idx="1091">
                  <c:v>0.9051216131221209</c:v>
                </c:pt>
                <c:pt idx="1092">
                  <c:v>0.921521117707822</c:v>
                </c:pt>
                <c:pt idx="1093">
                  <c:v>0.9320200165930572</c:v>
                </c:pt>
                <c:pt idx="1094">
                  <c:v>0.9187259166660442</c:v>
                </c:pt>
                <c:pt idx="1095">
                  <c:v>0.9485959743321124</c:v>
                </c:pt>
                <c:pt idx="1096">
                  <c:v>0.9813519474048813</c:v>
                </c:pt>
                <c:pt idx="1097">
                  <c:v>0.9915525183064102</c:v>
                </c:pt>
                <c:pt idx="1098">
                  <c:v>1.010870186110652</c:v>
                </c:pt>
                <c:pt idx="1099">
                  <c:v>1.0363955482817317</c:v>
                </c:pt>
                <c:pt idx="1100">
                  <c:v>1.057420661665713</c:v>
                </c:pt>
                <c:pt idx="1101">
                  <c:v>1.0812621293446556</c:v>
                </c:pt>
                <c:pt idx="1102">
                  <c:v>1.0936609480136017</c:v>
                </c:pt>
                <c:pt idx="1103">
                  <c:v>1.0944045544284973</c:v>
                </c:pt>
                <c:pt idx="1104">
                  <c:v>1.0735134807564757</c:v>
                </c:pt>
                <c:pt idx="1105">
                  <c:v>1.0882496714870684</c:v>
                </c:pt>
                <c:pt idx="1106">
                  <c:v>1.064358678438762</c:v>
                </c:pt>
                <c:pt idx="1107">
                  <c:v>1.0596020268759205</c:v>
                </c:pt>
                <c:pt idx="1108">
                  <c:v>1.088493583650664</c:v>
                </c:pt>
                <c:pt idx="1109">
                  <c:v>1.1072115844632813</c:v>
                </c:pt>
                <c:pt idx="1110">
                  <c:v>1.1039363926982486</c:v>
                </c:pt>
                <c:pt idx="1111">
                  <c:v>1.0994531006583288</c:v>
                </c:pt>
                <c:pt idx="1112">
                  <c:v>1.0774164767294145</c:v>
                </c:pt>
                <c:pt idx="1113">
                  <c:v>1.1031457219224476</c:v>
                </c:pt>
                <c:pt idx="1114">
                  <c:v>1.1119711943303625</c:v>
                </c:pt>
                <c:pt idx="1115">
                  <c:v>1.1166479506566676</c:v>
                </c:pt>
                <c:pt idx="1116">
                  <c:v>1.1506406393251618</c:v>
                </c:pt>
                <c:pt idx="1117">
                  <c:v>1.1175312493212486</c:v>
                </c:pt>
                <c:pt idx="1118">
                  <c:v>1.1255658563348123</c:v>
                </c:pt>
                <c:pt idx="1119">
                  <c:v>1.1065591358920668</c:v>
                </c:pt>
                <c:pt idx="1120">
                  <c:v>1.1256549981505715</c:v>
                </c:pt>
                <c:pt idx="1121">
                  <c:v>1.1289542304064044</c:v>
                </c:pt>
                <c:pt idx="1122">
                  <c:v>1.093320277821317</c:v>
                </c:pt>
                <c:pt idx="1123">
                  <c:v>1.0864544359949417</c:v>
                </c:pt>
                <c:pt idx="1124">
                  <c:v>1.102330434453298</c:v>
                </c:pt>
                <c:pt idx="1125">
                  <c:v>1.097880907319726</c:v>
                </c:pt>
                <c:pt idx="1126">
                  <c:v>1.1341275519667833</c:v>
                </c:pt>
                <c:pt idx="1127">
                  <c:v>1.1359802408503583</c:v>
                </c:pt>
                <c:pt idx="1128">
                  <c:v>1.1367449557774787</c:v>
                </c:pt>
                <c:pt idx="1129">
                  <c:v>1.098260600353926</c:v>
                </c:pt>
                <c:pt idx="1130">
                  <c:v>1.0732389533833286</c:v>
                </c:pt>
                <c:pt idx="1131">
                  <c:v>1.079286323501933</c:v>
                </c:pt>
                <c:pt idx="1132">
                  <c:v>1.0666742034971515</c:v>
                </c:pt>
                <c:pt idx="1133">
                  <c:v>1.0947318315688204</c:v>
                </c:pt>
                <c:pt idx="1134">
                  <c:v>1.0791367315092772</c:v>
                </c:pt>
                <c:pt idx="1135">
                  <c:v>1.108663110665693</c:v>
                </c:pt>
                <c:pt idx="1136">
                  <c:v>1.1109433124929842</c:v>
                </c:pt>
                <c:pt idx="1137">
                  <c:v>1.122908978401222</c:v>
                </c:pt>
                <c:pt idx="1138">
                  <c:v>1.126759371587371</c:v>
                </c:pt>
                <c:pt idx="1139">
                  <c:v>1.1277931135848571</c:v>
                </c:pt>
                <c:pt idx="1140">
                  <c:v>1.1634944021119291</c:v>
                </c:pt>
                <c:pt idx="1141">
                  <c:v>1.1072047128987492</c:v>
                </c:pt>
                <c:pt idx="1142">
                  <c:v>1.0814466237235671</c:v>
                </c:pt>
                <c:pt idx="1143">
                  <c:v>1.0645162372714374</c:v>
                </c:pt>
                <c:pt idx="1144">
                  <c:v>1.0611574741487408</c:v>
                </c:pt>
                <c:pt idx="1145">
                  <c:v>1.0822360457673486</c:v>
                </c:pt>
                <c:pt idx="1146">
                  <c:v>1.0925313045449205</c:v>
                </c:pt>
                <c:pt idx="1147">
                  <c:v>1.0858345009191788</c:v>
                </c:pt>
                <c:pt idx="1148">
                  <c:v>1.1011612662493238</c:v>
                </c:pt>
                <c:pt idx="1149">
                  <c:v>1.129040618020189</c:v>
                </c:pt>
                <c:pt idx="1150">
                  <c:v>1.1352078181619047</c:v>
                </c:pt>
                <c:pt idx="1151">
                  <c:v>1.157211329506096</c:v>
                </c:pt>
                <c:pt idx="1152">
                  <c:v>1.1728992372630596</c:v>
                </c:pt>
                <c:pt idx="1153">
                  <c:v>1.1622866045338172</c:v>
                </c:pt>
                <c:pt idx="1154">
                  <c:v>1.1775939935380424</c:v>
                </c:pt>
                <c:pt idx="1155">
                  <c:v>1.1834705501149814</c:v>
                </c:pt>
                <c:pt idx="1156">
                  <c:v>1.1886500579562447</c:v>
                </c:pt>
                <c:pt idx="1157">
                  <c:v>1.231736353829357</c:v>
                </c:pt>
                <c:pt idx="1158">
                  <c:v>1.1903290726948788</c:v>
                </c:pt>
                <c:pt idx="1159">
                  <c:v>1.161231153284501</c:v>
                </c:pt>
                <c:pt idx="1160">
                  <c:v>1.137831138230561</c:v>
                </c:pt>
                <c:pt idx="1161">
                  <c:v>1.1314155579679337</c:v>
                </c:pt>
                <c:pt idx="1162">
                  <c:v>1.1496388479676138</c:v>
                </c:pt>
                <c:pt idx="1163">
                  <c:v>1.1044401382249527</c:v>
                </c:pt>
                <c:pt idx="1164">
                  <c:v>1.090403465315032</c:v>
                </c:pt>
                <c:pt idx="1165">
                  <c:v>1.0844937484229669</c:v>
                </c:pt>
                <c:pt idx="1166">
                  <c:v>1.1377093309281152</c:v>
                </c:pt>
                <c:pt idx="1167">
                  <c:v>1.175261505576458</c:v>
                </c:pt>
                <c:pt idx="1168">
                  <c:v>1.1677315780007542</c:v>
                </c:pt>
                <c:pt idx="1169">
                  <c:v>1.1703961055240355</c:v>
                </c:pt>
                <c:pt idx="1170">
                  <c:v>1.140939940475024</c:v>
                </c:pt>
                <c:pt idx="1171">
                  <c:v>1.1166843906909447</c:v>
                </c:pt>
                <c:pt idx="1172">
                  <c:v>1.1190552292949913</c:v>
                </c:pt>
                <c:pt idx="1173">
                  <c:v>1.0920698794689319</c:v>
                </c:pt>
                <c:pt idx="1174">
                  <c:v>1.0913249351199963</c:v>
                </c:pt>
                <c:pt idx="1175">
                  <c:v>1.0604738026032203</c:v>
                </c:pt>
                <c:pt idx="1176">
                  <c:v>1.0496367015148085</c:v>
                </c:pt>
                <c:pt idx="1177">
                  <c:v>1.0507363320490724</c:v>
                </c:pt>
                <c:pt idx="1178">
                  <c:v>1.052375051553256</c:v>
                </c:pt>
                <c:pt idx="1179">
                  <c:v>1.0459016782926134</c:v>
                </c:pt>
                <c:pt idx="1180">
                  <c:v>0.9976103799468827</c:v>
                </c:pt>
                <c:pt idx="1181">
                  <c:v>1.0147289309359158</c:v>
                </c:pt>
                <c:pt idx="1182">
                  <c:v>1.0003195672226752</c:v>
                </c:pt>
                <c:pt idx="1183">
                  <c:v>1.0060954243032594</c:v>
                </c:pt>
                <c:pt idx="1184">
                  <c:v>1.009676792338758</c:v>
                </c:pt>
                <c:pt idx="1185">
                  <c:v>0.9938479041196262</c:v>
                </c:pt>
                <c:pt idx="1186">
                  <c:v>0.9924654952607108</c:v>
                </c:pt>
                <c:pt idx="1187">
                  <c:v>1.000264321424872</c:v>
                </c:pt>
                <c:pt idx="1188">
                  <c:v>1.012812321787417</c:v>
                </c:pt>
                <c:pt idx="1189">
                  <c:v>1.0110221566488304</c:v>
                </c:pt>
                <c:pt idx="1190">
                  <c:v>1.054203006671783</c:v>
                </c:pt>
                <c:pt idx="1191">
                  <c:v>1.078627946116974</c:v>
                </c:pt>
                <c:pt idx="1192">
                  <c:v>1.091571567000976</c:v>
                </c:pt>
                <c:pt idx="1193">
                  <c:v>1.1039689181894006</c:v>
                </c:pt>
                <c:pt idx="1194">
                  <c:v>1.1551607882323571</c:v>
                </c:pt>
                <c:pt idx="1195">
                  <c:v>1.1962696261937005</c:v>
                </c:pt>
                <c:pt idx="1196">
                  <c:v>1.171636268552898</c:v>
                </c:pt>
                <c:pt idx="1197">
                  <c:v>1.1502017368157187</c:v>
                </c:pt>
                <c:pt idx="1198">
                  <c:v>1.1898396712612032</c:v>
                </c:pt>
                <c:pt idx="1199">
                  <c:v>1.1701783956248333</c:v>
                </c:pt>
                <c:pt idx="1200">
                  <c:v>1.1401571678078222</c:v>
                </c:pt>
                <c:pt idx="1201">
                  <c:v>1.1315256250406533</c:v>
                </c:pt>
                <c:pt idx="1202">
                  <c:v>1.1409941895678513</c:v>
                </c:pt>
                <c:pt idx="1203">
                  <c:v>1.1398749447912473</c:v>
                </c:pt>
                <c:pt idx="1204">
                  <c:v>1.1186925877661782</c:v>
                </c:pt>
                <c:pt idx="1205">
                  <c:v>1.1169950241305524</c:v>
                </c:pt>
                <c:pt idx="1206">
                  <c:v>1.099958492729701</c:v>
                </c:pt>
                <c:pt idx="1207">
                  <c:v>1.0833576037671002</c:v>
                </c:pt>
                <c:pt idx="1208">
                  <c:v>1.1273155535222372</c:v>
                </c:pt>
                <c:pt idx="1209">
                  <c:v>1.1342853948475642</c:v>
                </c:pt>
                <c:pt idx="1210">
                  <c:v>1.153225493811612</c:v>
                </c:pt>
                <c:pt idx="1211">
                  <c:v>1.1540781596743432</c:v>
                </c:pt>
                <c:pt idx="1212">
                  <c:v>1.157013329570241</c:v>
                </c:pt>
                <c:pt idx="1213">
                  <c:v>1.143362103801302</c:v>
                </c:pt>
                <c:pt idx="1214">
                  <c:v>1.0903326907717137</c:v>
                </c:pt>
                <c:pt idx="1215">
                  <c:v>1.063477186059289</c:v>
                </c:pt>
                <c:pt idx="1216">
                  <c:v>1.0289121325744888</c:v>
                </c:pt>
                <c:pt idx="1217">
                  <c:v>0.9864613138079719</c:v>
                </c:pt>
                <c:pt idx="1218">
                  <c:v>0.9631971423741466</c:v>
                </c:pt>
                <c:pt idx="1219">
                  <c:v>0.9975381398936414</c:v>
                </c:pt>
                <c:pt idx="1220">
                  <c:v>1.009134205554385</c:v>
                </c:pt>
                <c:pt idx="1221">
                  <c:v>1.0286592991441896</c:v>
                </c:pt>
                <c:pt idx="1222">
                  <c:v>1.0206379519406945</c:v>
                </c:pt>
                <c:pt idx="1223">
                  <c:v>1.0365692856162965</c:v>
                </c:pt>
                <c:pt idx="1224">
                  <c:v>1.0200557198684814</c:v>
                </c:pt>
                <c:pt idx="1225">
                  <c:v>1.0290028636754078</c:v>
                </c:pt>
                <c:pt idx="1226">
                  <c:v>1.0283894984625621</c:v>
                </c:pt>
                <c:pt idx="1227">
                  <c:v>1.0345369615624156</c:v>
                </c:pt>
                <c:pt idx="1228">
                  <c:v>1.0472050208988377</c:v>
                </c:pt>
                <c:pt idx="1229">
                  <c:v>1.060795333320292</c:v>
                </c:pt>
                <c:pt idx="1230">
                  <c:v>1.0509637941884171</c:v>
                </c:pt>
                <c:pt idx="1231">
                  <c:v>1.0300105325592694</c:v>
                </c:pt>
                <c:pt idx="1232">
                  <c:v>1.0067704407839186</c:v>
                </c:pt>
                <c:pt idx="1233">
                  <c:v>1.014027075688162</c:v>
                </c:pt>
                <c:pt idx="1234">
                  <c:v>1.020164604800252</c:v>
                </c:pt>
                <c:pt idx="1235">
                  <c:v>1.0098355056039012</c:v>
                </c:pt>
                <c:pt idx="1236">
                  <c:v>1.0083912148955405</c:v>
                </c:pt>
                <c:pt idx="1237">
                  <c:v>1.0201806758681982</c:v>
                </c:pt>
                <c:pt idx="1238">
                  <c:v>1.0329538980621344</c:v>
                </c:pt>
                <c:pt idx="1239">
                  <c:v>1.0552055560493314</c:v>
                </c:pt>
                <c:pt idx="1240">
                  <c:v>1.0925121794396402</c:v>
                </c:pt>
                <c:pt idx="1241">
                  <c:v>1.075184517603609</c:v>
                </c:pt>
                <c:pt idx="1242">
                  <c:v>1.112721819232803</c:v>
                </c:pt>
                <c:pt idx="1243">
                  <c:v>1.1023059084010796</c:v>
                </c:pt>
                <c:pt idx="1244">
                  <c:v>1.1241200477877902</c:v>
                </c:pt>
                <c:pt idx="1245">
                  <c:v>1.1264478134853722</c:v>
                </c:pt>
                <c:pt idx="1246">
                  <c:v>1.1556507671405636</c:v>
                </c:pt>
                <c:pt idx="1247">
                  <c:v>1.0750008843979368</c:v>
                </c:pt>
                <c:pt idx="1248">
                  <c:v>1.095282498301008</c:v>
                </c:pt>
                <c:pt idx="1249">
                  <c:v>1.0586811676610424</c:v>
                </c:pt>
                <c:pt idx="1250">
                  <c:v>1.0821078753828446</c:v>
                </c:pt>
                <c:pt idx="1251">
                  <c:v>1.113047020325916</c:v>
                </c:pt>
                <c:pt idx="1252">
                  <c:v>1.0980007427667782</c:v>
                </c:pt>
                <c:pt idx="1253">
                  <c:v>1.1064064322928062</c:v>
                </c:pt>
                <c:pt idx="1254">
                  <c:v>1.0851229340669812</c:v>
                </c:pt>
                <c:pt idx="1255">
                  <c:v>1.071348430973352</c:v>
                </c:pt>
                <c:pt idx="1256">
                  <c:v>1.0884400140194788</c:v>
                </c:pt>
                <c:pt idx="1257">
                  <c:v>1.0916165265603914</c:v>
                </c:pt>
                <c:pt idx="1258">
                  <c:v>1.127125181648906</c:v>
                </c:pt>
                <c:pt idx="1259">
                  <c:v>1.1183375839164973</c:v>
                </c:pt>
                <c:pt idx="1260">
                  <c:v>1.1450323453041364</c:v>
                </c:pt>
                <c:pt idx="1261">
                  <c:v>1.1504537739333611</c:v>
                </c:pt>
                <c:pt idx="1262">
                  <c:v>1.1614542584712102</c:v>
                </c:pt>
                <c:pt idx="1263">
                  <c:v>1.1661245307283021</c:v>
                </c:pt>
                <c:pt idx="1264">
                  <c:v>1.1625381152724445</c:v>
                </c:pt>
                <c:pt idx="1265">
                  <c:v>1.161138435501143</c:v>
                </c:pt>
                <c:pt idx="1266">
                  <c:v>1.144946013728028</c:v>
                </c:pt>
                <c:pt idx="1267">
                  <c:v>1.1608035022232506</c:v>
                </c:pt>
                <c:pt idx="1268">
                  <c:v>1.1776831572633721</c:v>
                </c:pt>
                <c:pt idx="1269">
                  <c:v>1.189782965009714</c:v>
                </c:pt>
                <c:pt idx="1270">
                  <c:v>1.2331217611864873</c:v>
                </c:pt>
                <c:pt idx="1271">
                  <c:v>1.271403609278014</c:v>
                </c:pt>
                <c:pt idx="1272">
                  <c:v>1.2643350590450613</c:v>
                </c:pt>
                <c:pt idx="1273">
                  <c:v>1.2733788065347729</c:v>
                </c:pt>
                <c:pt idx="1274">
                  <c:v>1.2697622032876184</c:v>
                </c:pt>
                <c:pt idx="1275">
                  <c:v>1.2781299751503976</c:v>
                </c:pt>
                <c:pt idx="1276">
                  <c:v>1.2655985443080482</c:v>
                </c:pt>
                <c:pt idx="1277">
                  <c:v>1.3036878684496847</c:v>
                </c:pt>
                <c:pt idx="1278">
                  <c:v>1.3284280355159885</c:v>
                </c:pt>
                <c:pt idx="1279">
                  <c:v>1.3246530093548148</c:v>
                </c:pt>
                <c:pt idx="1280">
                  <c:v>1.3520592187573581</c:v>
                </c:pt>
                <c:pt idx="1281">
                  <c:v>1.2792646631915239</c:v>
                </c:pt>
                <c:pt idx="1282">
                  <c:v>1.2428034549373828</c:v>
                </c:pt>
                <c:pt idx="1283">
                  <c:v>1.2612390771960507</c:v>
                </c:pt>
                <c:pt idx="1284">
                  <c:v>1.2611409333473418</c:v>
                </c:pt>
                <c:pt idx="1285">
                  <c:v>1.2698884627615148</c:v>
                </c:pt>
                <c:pt idx="1286">
                  <c:v>1.2423075860559987</c:v>
                </c:pt>
                <c:pt idx="1287">
                  <c:v>1.2428217017718501</c:v>
                </c:pt>
                <c:pt idx="1288">
                  <c:v>1.2837760869229027</c:v>
                </c:pt>
                <c:pt idx="1289">
                  <c:v>1.3135787784305335</c:v>
                </c:pt>
                <c:pt idx="1290">
                  <c:v>1.3206476726908383</c:v>
                </c:pt>
                <c:pt idx="1291">
                  <c:v>1.3152981457652668</c:v>
                </c:pt>
                <c:pt idx="1292">
                  <c:v>1.3110919468601443</c:v>
                </c:pt>
                <c:pt idx="1293">
                  <c:v>1.2653846033337142</c:v>
                </c:pt>
                <c:pt idx="1294">
                  <c:v>1.271948745511351</c:v>
                </c:pt>
                <c:pt idx="1295">
                  <c:v>1.2915814359982698</c:v>
                </c:pt>
                <c:pt idx="1296">
                  <c:v>1.2619697235934249</c:v>
                </c:pt>
                <c:pt idx="1297">
                  <c:v>1.2551249673965001</c:v>
                </c:pt>
                <c:pt idx="1298">
                  <c:v>1.2200617182871394</c:v>
                </c:pt>
                <c:pt idx="1299">
                  <c:v>1.1959804905772211</c:v>
                </c:pt>
                <c:pt idx="1300">
                  <c:v>1.1980844055844804</c:v>
                </c:pt>
                <c:pt idx="1301">
                  <c:v>1.1555474707844486</c:v>
                </c:pt>
                <c:pt idx="1302">
                  <c:v>1.1270107883731986</c:v>
                </c:pt>
                <c:pt idx="1303">
                  <c:v>1.1432379989916512</c:v>
                </c:pt>
                <c:pt idx="1304">
                  <c:v>1.1326361848251376</c:v>
                </c:pt>
                <c:pt idx="1305">
                  <c:v>1.0667651761507098</c:v>
                </c:pt>
                <c:pt idx="1306">
                  <c:v>1.0414720823449932</c:v>
                </c:pt>
                <c:pt idx="1307">
                  <c:v>1.0663016261300764</c:v>
                </c:pt>
                <c:pt idx="1308">
                  <c:v>1.0126998079151655</c:v>
                </c:pt>
                <c:pt idx="1309">
                  <c:v>1.0158225001350205</c:v>
                </c:pt>
                <c:pt idx="1310">
                  <c:v>1.0006473264084645</c:v>
                </c:pt>
                <c:pt idx="1311">
                  <c:v>1.0064761575379788</c:v>
                </c:pt>
                <c:pt idx="1312">
                  <c:v>1.0106928966347688</c:v>
                </c:pt>
                <c:pt idx="1313">
                  <c:v>1.029229305466322</c:v>
                </c:pt>
                <c:pt idx="1314">
                  <c:v>1.0410432227635433</c:v>
                </c:pt>
                <c:pt idx="1315">
                  <c:v>1.0775659471174075</c:v>
                </c:pt>
                <c:pt idx="1316">
                  <c:v>1.0751289329041849</c:v>
                </c:pt>
                <c:pt idx="1317">
                  <c:v>1.09156798181511</c:v>
                </c:pt>
                <c:pt idx="1318">
                  <c:v>1.0667533375687772</c:v>
                </c:pt>
                <c:pt idx="1319">
                  <c:v>1.0915577282073095</c:v>
                </c:pt>
                <c:pt idx="1320">
                  <c:v>1.0773877716787426</c:v>
                </c:pt>
                <c:pt idx="1321">
                  <c:v>1.0672560096637569</c:v>
                </c:pt>
                <c:pt idx="1322">
                  <c:v>1.0677493519358694</c:v>
                </c:pt>
                <c:pt idx="1323">
                  <c:v>1.0379791347680825</c:v>
                </c:pt>
                <c:pt idx="1324">
                  <c:v>1.048829060894378</c:v>
                </c:pt>
                <c:pt idx="1325">
                  <c:v>1.0696276771111481</c:v>
                </c:pt>
                <c:pt idx="1326">
                  <c:v>1.0689566902284073</c:v>
                </c:pt>
                <c:pt idx="1327">
                  <c:v>1.0194487314762304</c:v>
                </c:pt>
                <c:pt idx="1328">
                  <c:v>1.0179822314427946</c:v>
                </c:pt>
                <c:pt idx="1329">
                  <c:v>1.033115634290525</c:v>
                </c:pt>
                <c:pt idx="1330">
                  <c:v>0.9848331604651566</c:v>
                </c:pt>
                <c:pt idx="1331">
                  <c:v>0.9660717812190129</c:v>
                </c:pt>
                <c:pt idx="1332">
                  <c:v>0.9857851185157764</c:v>
                </c:pt>
                <c:pt idx="1333">
                  <c:v>0.9811611609607955</c:v>
                </c:pt>
                <c:pt idx="1334">
                  <c:v>0.9963761664905815</c:v>
                </c:pt>
                <c:pt idx="1335">
                  <c:v>1.0325409213641974</c:v>
                </c:pt>
                <c:pt idx="1336">
                  <c:v>1.0425029153920722</c:v>
                </c:pt>
                <c:pt idx="1337">
                  <c:v>1.0496098471197448</c:v>
                </c:pt>
                <c:pt idx="1338">
                  <c:v>1.0827312459946343</c:v>
                </c:pt>
                <c:pt idx="1339">
                  <c:v>1.0395126051883308</c:v>
                </c:pt>
                <c:pt idx="1340">
                  <c:v>1.0027337691511105</c:v>
                </c:pt>
                <c:pt idx="1341">
                  <c:v>0.9946168878622397</c:v>
                </c:pt>
                <c:pt idx="1342">
                  <c:v>1.0038328452097494</c:v>
                </c:pt>
                <c:pt idx="1343">
                  <c:v>0.9947077987667299</c:v>
                </c:pt>
                <c:pt idx="1344">
                  <c:v>0.9616812242073818</c:v>
                </c:pt>
                <c:pt idx="1345">
                  <c:v>1.0036309497032891</c:v>
                </c:pt>
                <c:pt idx="1346">
                  <c:v>1.0267572785511718</c:v>
                </c:pt>
                <c:pt idx="1347">
                  <c:v>1.0265856249629817</c:v>
                </c:pt>
                <c:pt idx="1348">
                  <c:v>1.0501850559303323</c:v>
                </c:pt>
                <c:pt idx="1349">
                  <c:v>1.048981845498247</c:v>
                </c:pt>
                <c:pt idx="1350">
                  <c:v>1.0449814671493196</c:v>
                </c:pt>
                <c:pt idx="1351">
                  <c:v>1.0714372230554292</c:v>
                </c:pt>
                <c:pt idx="1352">
                  <c:v>1.0520671843938136</c:v>
                </c:pt>
                <c:pt idx="1353">
                  <c:v>1.0685395193379157</c:v>
                </c:pt>
                <c:pt idx="1354">
                  <c:v>1.1147075409297944</c:v>
                </c:pt>
                <c:pt idx="1355">
                  <c:v>1.1290588108941826</c:v>
                </c:pt>
                <c:pt idx="1356">
                  <c:v>1.1224075992629956</c:v>
                </c:pt>
                <c:pt idx="1357">
                  <c:v>1.1131379837249944</c:v>
                </c:pt>
                <c:pt idx="1358">
                  <c:v>1.1105230380337106</c:v>
                </c:pt>
                <c:pt idx="1359">
                  <c:v>1.1312691034133135</c:v>
                </c:pt>
                <c:pt idx="1360">
                  <c:v>1.078019114356973</c:v>
                </c:pt>
                <c:pt idx="1361">
                  <c:v>1.0512503605155428</c:v>
                </c:pt>
                <c:pt idx="1362">
                  <c:v>1.0266203156402458</c:v>
                </c:pt>
                <c:pt idx="1363">
                  <c:v>1.0441282895176411</c:v>
                </c:pt>
                <c:pt idx="1364">
                  <c:v>1.0376749315595943</c:v>
                </c:pt>
                <c:pt idx="1365">
                  <c:v>1.0478796515615407</c:v>
                </c:pt>
                <c:pt idx="1366">
                  <c:v>1.0389860979119754</c:v>
                </c:pt>
                <c:pt idx="1367">
                  <c:v>1.0797989085144195</c:v>
                </c:pt>
                <c:pt idx="1368">
                  <c:v>1.0196280486589786</c:v>
                </c:pt>
                <c:pt idx="1369">
                  <c:v>1.0597968766808337</c:v>
                </c:pt>
                <c:pt idx="1370">
                  <c:v>1.0310829572922295</c:v>
                </c:pt>
                <c:pt idx="1371">
                  <c:v>1.0479950745542657</c:v>
                </c:pt>
                <c:pt idx="1372">
                  <c:v>0.9572274856395191</c:v>
                </c:pt>
                <c:pt idx="1373">
                  <c:v>0.9328175597135573</c:v>
                </c:pt>
                <c:pt idx="1374">
                  <c:v>0.9480939111133817</c:v>
                </c:pt>
                <c:pt idx="1375">
                  <c:v>0.9336127594727615</c:v>
                </c:pt>
                <c:pt idx="1376">
                  <c:v>0.9279493493854409</c:v>
                </c:pt>
                <c:pt idx="1377">
                  <c:v>0.9320635604949261</c:v>
                </c:pt>
                <c:pt idx="1378">
                  <c:v>0.9382784263746893</c:v>
                </c:pt>
                <c:pt idx="1379">
                  <c:v>0.9261398162484238</c:v>
                </c:pt>
                <c:pt idx="1380">
                  <c:v>0.963196912510383</c:v>
                </c:pt>
                <c:pt idx="1381">
                  <c:v>0.9182586381791549</c:v>
                </c:pt>
                <c:pt idx="1382">
                  <c:v>0.8841120152052124</c:v>
                </c:pt>
                <c:pt idx="1383">
                  <c:v>0.837913614019373</c:v>
                </c:pt>
                <c:pt idx="1384">
                  <c:v>0.8081487198564532</c:v>
                </c:pt>
                <c:pt idx="1385">
                  <c:v>0.8105802080540501</c:v>
                </c:pt>
                <c:pt idx="1386">
                  <c:v>0.8104833869878427</c:v>
                </c:pt>
                <c:pt idx="1387">
                  <c:v>0.80028776108602</c:v>
                </c:pt>
                <c:pt idx="1388">
                  <c:v>0.820721754522417</c:v>
                </c:pt>
                <c:pt idx="1389">
                  <c:v>0.809087678474729</c:v>
                </c:pt>
                <c:pt idx="1390">
                  <c:v>0.8062119896742286</c:v>
                </c:pt>
                <c:pt idx="1391">
                  <c:v>0.8323754029768919</c:v>
                </c:pt>
                <c:pt idx="1392">
                  <c:v>0.8237553606677077</c:v>
                </c:pt>
                <c:pt idx="1393">
                  <c:v>0.841727976177115</c:v>
                </c:pt>
                <c:pt idx="1394">
                  <c:v>0.8265266521490475</c:v>
                </c:pt>
                <c:pt idx="1395">
                  <c:v>0.8597742563208015</c:v>
                </c:pt>
                <c:pt idx="1396">
                  <c:v>0.8779270485332651</c:v>
                </c:pt>
                <c:pt idx="1397">
                  <c:v>0.8885632905291705</c:v>
                </c:pt>
                <c:pt idx="1398">
                  <c:v>0.8997392261122994</c:v>
                </c:pt>
                <c:pt idx="1399">
                  <c:v>0.8751503606904294</c:v>
                </c:pt>
                <c:pt idx="1400">
                  <c:v>0.9045649922996439</c:v>
                </c:pt>
                <c:pt idx="1401">
                  <c:v>0.8998675248463226</c:v>
                </c:pt>
                <c:pt idx="1402">
                  <c:v>0.8956188863048626</c:v>
                </c:pt>
                <c:pt idx="1403">
                  <c:v>0.896490457650081</c:v>
                </c:pt>
                <c:pt idx="1404">
                  <c:v>0.818238315306713</c:v>
                </c:pt>
                <c:pt idx="1405">
                  <c:v>0.8310557514131143</c:v>
                </c:pt>
                <c:pt idx="1406">
                  <c:v>0.8363312337434889</c:v>
                </c:pt>
                <c:pt idx="1407">
                  <c:v>0.8251237196831551</c:v>
                </c:pt>
                <c:pt idx="1408">
                  <c:v>0.8302505620404275</c:v>
                </c:pt>
                <c:pt idx="1409">
                  <c:v>0.8113842721813154</c:v>
                </c:pt>
                <c:pt idx="1410">
                  <c:v>0.8022091912482823</c:v>
                </c:pt>
                <c:pt idx="1411">
                  <c:v>0.8847938820153975</c:v>
                </c:pt>
                <c:pt idx="1412">
                  <c:v>0.8575673955273215</c:v>
                </c:pt>
                <c:pt idx="1413">
                  <c:v>0.8806549234258223</c:v>
                </c:pt>
                <c:pt idx="1414">
                  <c:v>0.8815140373606711</c:v>
                </c:pt>
                <c:pt idx="1415">
                  <c:v>0.8611072045198975</c:v>
                </c:pt>
                <c:pt idx="1416">
                  <c:v>0.9141835078948104</c:v>
                </c:pt>
                <c:pt idx="1417">
                  <c:v>0.9414723674156549</c:v>
                </c:pt>
                <c:pt idx="1418">
                  <c:v>0.9687507325938163</c:v>
                </c:pt>
                <c:pt idx="1419">
                  <c:v>0.9701607730852262</c:v>
                </c:pt>
                <c:pt idx="1420">
                  <c:v>0.9669816261029152</c:v>
                </c:pt>
                <c:pt idx="1421">
                  <c:v>0.9605040986297311</c:v>
                </c:pt>
                <c:pt idx="1422">
                  <c:v>0.9834767290161739</c:v>
                </c:pt>
                <c:pt idx="1423">
                  <c:v>0.9709900600582946</c:v>
                </c:pt>
                <c:pt idx="1424">
                  <c:v>0.9741499743517454</c:v>
                </c:pt>
                <c:pt idx="1425">
                  <c:v>0.9562984615456642</c:v>
                </c:pt>
                <c:pt idx="1426">
                  <c:v>0.9725006370944631</c:v>
                </c:pt>
                <c:pt idx="1427">
                  <c:v>0.9906494815053315</c:v>
                </c:pt>
                <c:pt idx="1428">
                  <c:v>0.9652999751811879</c:v>
                </c:pt>
                <c:pt idx="1429">
                  <c:v>1.0136375753737874</c:v>
                </c:pt>
                <c:pt idx="1430">
                  <c:v>1.0207389345067428</c:v>
                </c:pt>
                <c:pt idx="1431">
                  <c:v>1.003153446779586</c:v>
                </c:pt>
                <c:pt idx="1432">
                  <c:v>1.0033822662045857</c:v>
                </c:pt>
                <c:pt idx="1433">
                  <c:v>0.9731574365689744</c:v>
                </c:pt>
                <c:pt idx="1434">
                  <c:v>0.9784869581075182</c:v>
                </c:pt>
                <c:pt idx="1435">
                  <c:v>0.9724657081074499</c:v>
                </c:pt>
                <c:pt idx="1436">
                  <c:v>0.9748470972636132</c:v>
                </c:pt>
                <c:pt idx="1437">
                  <c:v>0.9053125942995666</c:v>
                </c:pt>
                <c:pt idx="1438">
                  <c:v>0.8803236345262573</c:v>
                </c:pt>
                <c:pt idx="1439">
                  <c:v>0.9007242124394679</c:v>
                </c:pt>
                <c:pt idx="1440">
                  <c:v>0.8895784663949662</c:v>
                </c:pt>
                <c:pt idx="1441">
                  <c:v>0.896901756262829</c:v>
                </c:pt>
                <c:pt idx="1442">
                  <c:v>0.8813828878533949</c:v>
                </c:pt>
                <c:pt idx="1443">
                  <c:v>0.9188737796270603</c:v>
                </c:pt>
                <c:pt idx="1444">
                  <c:v>0.9176639459829756</c:v>
                </c:pt>
                <c:pt idx="1445">
                  <c:v>0.926790655710386</c:v>
                </c:pt>
                <c:pt idx="1446">
                  <c:v>0.9534491232513944</c:v>
                </c:pt>
                <c:pt idx="1447">
                  <c:v>0.9824699169139746</c:v>
                </c:pt>
                <c:pt idx="1448">
                  <c:v>0.9775883357198498</c:v>
                </c:pt>
                <c:pt idx="1449">
                  <c:v>0.9463689711843448</c:v>
                </c:pt>
                <c:pt idx="1450">
                  <c:v>0.9760485872714715</c:v>
                </c:pt>
                <c:pt idx="1451">
                  <c:v>0.9892220619005612</c:v>
                </c:pt>
                <c:pt idx="1452">
                  <c:v>0.9927500153272315</c:v>
                </c:pt>
                <c:pt idx="1453">
                  <c:v>0.9905447453167231</c:v>
                </c:pt>
                <c:pt idx="1454">
                  <c:v>1.0191851447778637</c:v>
                </c:pt>
                <c:pt idx="1455">
                  <c:v>1.017902974382801</c:v>
                </c:pt>
                <c:pt idx="1456">
                  <c:v>1.0742532356050307</c:v>
                </c:pt>
                <c:pt idx="1457">
                  <c:v>1.0830069424740327</c:v>
                </c:pt>
                <c:pt idx="1458">
                  <c:v>1.1262089788826128</c:v>
                </c:pt>
                <c:pt idx="1459">
                  <c:v>1.1423009363154017</c:v>
                </c:pt>
                <c:pt idx="1460">
                  <c:v>1.1649400250260378</c:v>
                </c:pt>
                <c:pt idx="1461">
                  <c:v>1.1510112230912335</c:v>
                </c:pt>
                <c:pt idx="1462">
                  <c:v>1.1345329442803944</c:v>
                </c:pt>
                <c:pt idx="1463">
                  <c:v>1.1457183358017056</c:v>
                </c:pt>
                <c:pt idx="1464">
                  <c:v>1.1748240250996265</c:v>
                </c:pt>
                <c:pt idx="1465">
                  <c:v>1.1835946244860494</c:v>
                </c:pt>
                <c:pt idx="1466">
                  <c:v>1.1754512381214575</c:v>
                </c:pt>
                <c:pt idx="1467">
                  <c:v>1.1166927478951845</c:v>
                </c:pt>
                <c:pt idx="1468">
                  <c:v>1.088947571540471</c:v>
                </c:pt>
                <c:pt idx="1469">
                  <c:v>1.0548091337055179</c:v>
                </c:pt>
                <c:pt idx="1470">
                  <c:v>1.0508063318219243</c:v>
                </c:pt>
                <c:pt idx="1471">
                  <c:v>1.0633717841624266</c:v>
                </c:pt>
                <c:pt idx="1472">
                  <c:v>1.0438621066181093</c:v>
                </c:pt>
                <c:pt idx="1473">
                  <c:v>1.0039886835206273</c:v>
                </c:pt>
                <c:pt idx="1474">
                  <c:v>1.014530084523483</c:v>
                </c:pt>
                <c:pt idx="1475">
                  <c:v>1.0123209700352755</c:v>
                </c:pt>
                <c:pt idx="1476">
                  <c:v>1.0532958257351321</c:v>
                </c:pt>
                <c:pt idx="1477">
                  <c:v>1.0341318847186982</c:v>
                </c:pt>
                <c:pt idx="1478">
                  <c:v>1.0354179704035795</c:v>
                </c:pt>
                <c:pt idx="1479">
                  <c:v>1.053252452086698</c:v>
                </c:pt>
                <c:pt idx="1480">
                  <c:v>1.0711943269274502</c:v>
                </c:pt>
                <c:pt idx="1481">
                  <c:v>1.0884695460773117</c:v>
                </c:pt>
                <c:pt idx="1482">
                  <c:v>1.091682765391245</c:v>
                </c:pt>
                <c:pt idx="1483">
                  <c:v>1.0991803261626059</c:v>
                </c:pt>
                <c:pt idx="1484">
                  <c:v>1.1048681032387124</c:v>
                </c:pt>
                <c:pt idx="1485">
                  <c:v>1.1046656403530029</c:v>
                </c:pt>
              </c:numCache>
            </c:numRef>
          </c:val>
          <c:smooth val="0"/>
          <c:extLst>
            <c:ext xmlns:c16="http://schemas.microsoft.com/office/drawing/2014/chart" uri="{C3380CC4-5D6E-409C-BE32-E72D297353CC}">
              <c16:uniqueId val="{00000002-1D55-4091-B462-1B341D70D85C}"/>
            </c:ext>
          </c:extLst>
        </c:ser>
        <c:ser>
          <c:idx val="3"/>
          <c:order val="3"/>
          <c:tx>
            <c:strRef>
              <c:f>Sheet1!$E$1</c:f>
              <c:strCache>
                <c:ptCount val="1"/>
                <c:pt idx="0">
                  <c:v>Benchmark return ZMW</c:v>
                </c:pt>
              </c:strCache>
            </c:strRef>
          </c:tx>
          <c:spPr>
            <a:ln w="12700" cap="rnd">
              <a:solidFill>
                <a:schemeClr val="bg1">
                  <a:lumMod val="65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E$2:$E$1487</c:f>
              <c:numCache>
                <c:formatCode>General</c:formatCode>
                <c:ptCount val="1486"/>
                <c:pt idx="0">
                  <c:v>0.0</c:v>
                </c:pt>
                <c:pt idx="1">
                  <c:v>-0.0012941536787978158</c:v>
                </c:pt>
                <c:pt idx="2">
                  <c:v>-0.005559425096457904</c:v>
                </c:pt>
                <c:pt idx="3">
                  <c:v>-0.004830250115644419</c:v>
                </c:pt>
                <c:pt idx="4">
                  <c:v>-0.009688860010780287</c:v>
                </c:pt>
                <c:pt idx="5">
                  <c:v>-0.009688860010780287</c:v>
                </c:pt>
                <c:pt idx="6">
                  <c:v>-0.009688860010780287</c:v>
                </c:pt>
                <c:pt idx="7">
                  <c:v>-0.003672781821754234</c:v>
                </c:pt>
                <c:pt idx="8">
                  <c:v>-0.0070734931364115905</c:v>
                </c:pt>
                <c:pt idx="9">
                  <c:v>0.0021341545179121013</c:v>
                </c:pt>
                <c:pt idx="10">
                  <c:v>0.0005100490500786758</c:v>
                </c:pt>
                <c:pt idx="11">
                  <c:v>-0.008279210851787622</c:v>
                </c:pt>
                <c:pt idx="12">
                  <c:v>-0.008279210851787622</c:v>
                </c:pt>
                <c:pt idx="13">
                  <c:v>-0.008279210851787622</c:v>
                </c:pt>
                <c:pt idx="14">
                  <c:v>-0.0243957542664498</c:v>
                </c:pt>
                <c:pt idx="15">
                  <c:v>-0.019537347512265435</c:v>
                </c:pt>
                <c:pt idx="16">
                  <c:v>-0.009189131797466166</c:v>
                </c:pt>
                <c:pt idx="17">
                  <c:v>0.0048797936381779206</c:v>
                </c:pt>
                <c:pt idx="18">
                  <c:v>0.005207333573183259</c:v>
                </c:pt>
                <c:pt idx="19">
                  <c:v>0.005207333573183259</c:v>
                </c:pt>
                <c:pt idx="20">
                  <c:v>0.005207333573183259</c:v>
                </c:pt>
                <c:pt idx="21">
                  <c:v>0.006821534282549724</c:v>
                </c:pt>
                <c:pt idx="22">
                  <c:v>-0.008290698404667562</c:v>
                </c:pt>
                <c:pt idx="23">
                  <c:v>-0.008938839416069988</c:v>
                </c:pt>
                <c:pt idx="24">
                  <c:v>-0.013521879861441821</c:v>
                </c:pt>
                <c:pt idx="25">
                  <c:v>-0.005088455528620139</c:v>
                </c:pt>
                <c:pt idx="26">
                  <c:v>-0.005088455528620139</c:v>
                </c:pt>
                <c:pt idx="27">
                  <c:v>-0.005088455528620139</c:v>
                </c:pt>
                <c:pt idx="28">
                  <c:v>-0.01695201822509529</c:v>
                </c:pt>
                <c:pt idx="29">
                  <c:v>-0.0008542994179571162</c:v>
                </c:pt>
                <c:pt idx="30">
                  <c:v>0.007082377539088469</c:v>
                </c:pt>
                <c:pt idx="31">
                  <c:v>0.018904500875342123</c:v>
                </c:pt>
                <c:pt idx="32">
                  <c:v>0.020368506659594443</c:v>
                </c:pt>
                <c:pt idx="33">
                  <c:v>0.020368506659594443</c:v>
                </c:pt>
                <c:pt idx="34">
                  <c:v>0.020368506659594443</c:v>
                </c:pt>
                <c:pt idx="35">
                  <c:v>0.01820690182090945</c:v>
                </c:pt>
                <c:pt idx="36">
                  <c:v>0.01398018020379932</c:v>
                </c:pt>
                <c:pt idx="37">
                  <c:v>0.01606124837955769</c:v>
                </c:pt>
                <c:pt idx="38">
                  <c:v>0.02325971732433052</c:v>
                </c:pt>
                <c:pt idx="39">
                  <c:v>0.0328496159377738</c:v>
                </c:pt>
                <c:pt idx="40">
                  <c:v>0.0328496159377738</c:v>
                </c:pt>
                <c:pt idx="41">
                  <c:v>0.0328496159377738</c:v>
                </c:pt>
                <c:pt idx="42">
                  <c:v>0.05133585624632819</c:v>
                </c:pt>
                <c:pt idx="43">
                  <c:v>0.04516545956514406</c:v>
                </c:pt>
                <c:pt idx="44">
                  <c:v>0.05334116103489861</c:v>
                </c:pt>
                <c:pt idx="45">
                  <c:v>0.057149079785602686</c:v>
                </c:pt>
                <c:pt idx="46">
                  <c:v>0.05659120653644112</c:v>
                </c:pt>
                <c:pt idx="47">
                  <c:v>0.05659120653644112</c:v>
                </c:pt>
                <c:pt idx="48">
                  <c:v>0.05659120653644112</c:v>
                </c:pt>
                <c:pt idx="49">
                  <c:v>0.06108765732303456</c:v>
                </c:pt>
                <c:pt idx="50">
                  <c:v>0.062201460461980496</c:v>
                </c:pt>
                <c:pt idx="51">
                  <c:v>0.05906120525262404</c:v>
                </c:pt>
                <c:pt idx="52">
                  <c:v>0.07280285449589163</c:v>
                </c:pt>
                <c:pt idx="53">
                  <c:v>0.07149629578439431</c:v>
                </c:pt>
                <c:pt idx="54">
                  <c:v>0.07149629578439431</c:v>
                </c:pt>
                <c:pt idx="55">
                  <c:v>0.07149629578439431</c:v>
                </c:pt>
                <c:pt idx="56">
                  <c:v>0.07820165071328788</c:v>
                </c:pt>
                <c:pt idx="57">
                  <c:v>0.0807838262884546</c:v>
                </c:pt>
                <c:pt idx="58">
                  <c:v>0.08876963919308056</c:v>
                </c:pt>
                <c:pt idx="59">
                  <c:v>0.09169782757645395</c:v>
                </c:pt>
                <c:pt idx="60">
                  <c:v>0.09690604092810773</c:v>
                </c:pt>
                <c:pt idx="61">
                  <c:v>0.09690604092810773</c:v>
                </c:pt>
                <c:pt idx="62">
                  <c:v>0.09690604092810773</c:v>
                </c:pt>
                <c:pt idx="63">
                  <c:v>0.10320431216941506</c:v>
                </c:pt>
                <c:pt idx="64">
                  <c:v>0.09991584980498858</c:v>
                </c:pt>
                <c:pt idx="65">
                  <c:v>0.09167010986493129</c:v>
                </c:pt>
                <c:pt idx="66">
                  <c:v>0.09599611292909849</c:v>
                </c:pt>
                <c:pt idx="67">
                  <c:v>0.10290221415875833</c:v>
                </c:pt>
                <c:pt idx="68">
                  <c:v>0.10290221415875833</c:v>
                </c:pt>
                <c:pt idx="69">
                  <c:v>0.10290221415875833</c:v>
                </c:pt>
                <c:pt idx="70">
                  <c:v>0.1037175540945825</c:v>
                </c:pt>
                <c:pt idx="71">
                  <c:v>0.10686475147350682</c:v>
                </c:pt>
                <c:pt idx="72">
                  <c:v>0.10677572660327295</c:v>
                </c:pt>
                <c:pt idx="73">
                  <c:v>0.110468821653388</c:v>
                </c:pt>
                <c:pt idx="74">
                  <c:v>0.10748006271014754</c:v>
                </c:pt>
                <c:pt idx="75">
                  <c:v>0.10748006271014754</c:v>
                </c:pt>
                <c:pt idx="76">
                  <c:v>0.10748006271014754</c:v>
                </c:pt>
                <c:pt idx="77">
                  <c:v>0.1007895087334294</c:v>
                </c:pt>
                <c:pt idx="78">
                  <c:v>0.09975229006245878</c:v>
                </c:pt>
                <c:pt idx="79">
                  <c:v>0.10279478400687014</c:v>
                </c:pt>
                <c:pt idx="80">
                  <c:v>0.1070788967973213</c:v>
                </c:pt>
                <c:pt idx="81">
                  <c:v>0.08177178465731338</c:v>
                </c:pt>
                <c:pt idx="82">
                  <c:v>0.08177178465731338</c:v>
                </c:pt>
                <c:pt idx="83">
                  <c:v>0.08177178465731338</c:v>
                </c:pt>
                <c:pt idx="84">
                  <c:v>0.09370940932697014</c:v>
                </c:pt>
                <c:pt idx="85">
                  <c:v>0.07947924045286903</c:v>
                </c:pt>
                <c:pt idx="86">
                  <c:v>0.06925482900558388</c:v>
                </c:pt>
                <c:pt idx="87">
                  <c:v>0.08490644322002439</c:v>
                </c:pt>
                <c:pt idx="88">
                  <c:v>0.07642029098835801</c:v>
                </c:pt>
                <c:pt idx="89">
                  <c:v>0.07642029098835801</c:v>
                </c:pt>
                <c:pt idx="90">
                  <c:v>0.07642029098835801</c:v>
                </c:pt>
                <c:pt idx="91">
                  <c:v>0.08684371273592406</c:v>
                </c:pt>
                <c:pt idx="92">
                  <c:v>0.0976893595280377</c:v>
                </c:pt>
                <c:pt idx="93">
                  <c:v>0.09023147103929885</c:v>
                </c:pt>
                <c:pt idx="94">
                  <c:v>0.0727505402475297</c:v>
                </c:pt>
                <c:pt idx="95">
                  <c:v>7.832023948473044e-05</c:v>
                </c:pt>
                <c:pt idx="96">
                  <c:v>7.832023948473044e-05</c:v>
                </c:pt>
                <c:pt idx="97">
                  <c:v>7.832023948473044e-05</c:v>
                </c:pt>
                <c:pt idx="98">
                  <c:v>-0.012735617374630137</c:v>
                </c:pt>
                <c:pt idx="99">
                  <c:v>-0.0077623734642455755</c:v>
                </c:pt>
                <c:pt idx="100">
                  <c:v>0.011177210849984132</c:v>
                </c:pt>
                <c:pt idx="101">
                  <c:v>0.01053729631886724</c:v>
                </c:pt>
                <c:pt idx="102">
                  <c:v>0.003078337868466008</c:v>
                </c:pt>
                <c:pt idx="103">
                  <c:v>0.003078337868466008</c:v>
                </c:pt>
                <c:pt idx="104">
                  <c:v>0.003078337868466008</c:v>
                </c:pt>
                <c:pt idx="105">
                  <c:v>0.003594101939736527</c:v>
                </c:pt>
                <c:pt idx="106">
                  <c:v>0.0150288203431177</c:v>
                </c:pt>
                <c:pt idx="107">
                  <c:v>0.02443147941048074</c:v>
                </c:pt>
                <c:pt idx="108">
                  <c:v>0.03492185821035987</c:v>
                </c:pt>
                <c:pt idx="109">
                  <c:v>0.03639394647136229</c:v>
                </c:pt>
                <c:pt idx="110">
                  <c:v>0.03639394647136229</c:v>
                </c:pt>
                <c:pt idx="111">
                  <c:v>0.03639394647136229</c:v>
                </c:pt>
                <c:pt idx="112">
                  <c:v>0.045638077114887876</c:v>
                </c:pt>
                <c:pt idx="113">
                  <c:v>0.04859218827303913</c:v>
                </c:pt>
                <c:pt idx="114">
                  <c:v>0.05009074241168143</c:v>
                </c:pt>
                <c:pt idx="115">
                  <c:v>0.05091887802395911</c:v>
                </c:pt>
                <c:pt idx="116">
                  <c:v>0.0502908543127476</c:v>
                </c:pt>
                <c:pt idx="117">
                  <c:v>0.0502908543127476</c:v>
                </c:pt>
                <c:pt idx="118">
                  <c:v>0.0502908543127476</c:v>
                </c:pt>
                <c:pt idx="119">
                  <c:v>0.05600295913752862</c:v>
                </c:pt>
                <c:pt idx="120">
                  <c:v>0.055800623946256955</c:v>
                </c:pt>
                <c:pt idx="121">
                  <c:v>0.04135609720066169</c:v>
                </c:pt>
                <c:pt idx="122">
                  <c:v>0.042413250111407175</c:v>
                </c:pt>
                <c:pt idx="123">
                  <c:v>0.042563239393077934</c:v>
                </c:pt>
                <c:pt idx="124">
                  <c:v>0.042563239393077934</c:v>
                </c:pt>
                <c:pt idx="125">
                  <c:v>0.042563239393077934</c:v>
                </c:pt>
                <c:pt idx="126">
                  <c:v>0.03933831548579847</c:v>
                </c:pt>
                <c:pt idx="127">
                  <c:v>0.060419960710247134</c:v>
                </c:pt>
                <c:pt idx="128">
                  <c:v>0.06666478446237711</c:v>
                </c:pt>
                <c:pt idx="129">
                  <c:v>0.056381490718846905</c:v>
                </c:pt>
                <c:pt idx="130">
                  <c:v>0.06671532001489466</c:v>
                </c:pt>
                <c:pt idx="131">
                  <c:v>0.06671532001489466</c:v>
                </c:pt>
                <c:pt idx="132">
                  <c:v>0.06671532001489466</c:v>
                </c:pt>
                <c:pt idx="133">
                  <c:v>0.06598343631041459</c:v>
                </c:pt>
                <c:pt idx="134">
                  <c:v>0.05476266691030229</c:v>
                </c:pt>
                <c:pt idx="135">
                  <c:v>0.04927642261380227</c:v>
                </c:pt>
                <c:pt idx="136">
                  <c:v>0.04397802630041925</c:v>
                </c:pt>
                <c:pt idx="137">
                  <c:v>0.03378056018419473</c:v>
                </c:pt>
                <c:pt idx="138">
                  <c:v>0.03378056018419473</c:v>
                </c:pt>
                <c:pt idx="139">
                  <c:v>0.03378056018419473</c:v>
                </c:pt>
                <c:pt idx="140">
                  <c:v>0.03513885079786361</c:v>
                </c:pt>
                <c:pt idx="141">
                  <c:v>0.028798691954324607</c:v>
                </c:pt>
                <c:pt idx="142">
                  <c:v>0.029483190223248412</c:v>
                </c:pt>
                <c:pt idx="143">
                  <c:v>0.026952092959152907</c:v>
                </c:pt>
                <c:pt idx="144">
                  <c:v>0.053499304782994805</c:v>
                </c:pt>
                <c:pt idx="145">
                  <c:v>0.053499304782994805</c:v>
                </c:pt>
                <c:pt idx="146">
                  <c:v>0.053499304782994805</c:v>
                </c:pt>
                <c:pt idx="147">
                  <c:v>0.08322513248913754</c:v>
                </c:pt>
                <c:pt idx="148">
                  <c:v>0.09794068230789654</c:v>
                </c:pt>
                <c:pt idx="149">
                  <c:v>0.10492195629484002</c:v>
                </c:pt>
                <c:pt idx="150">
                  <c:v>0.08816600711251454</c:v>
                </c:pt>
                <c:pt idx="151">
                  <c:v>0.09946906134288969</c:v>
                </c:pt>
                <c:pt idx="152">
                  <c:v>0.09946906134288969</c:v>
                </c:pt>
                <c:pt idx="153">
                  <c:v>0.09946906134288969</c:v>
                </c:pt>
                <c:pt idx="154">
                  <c:v>0.1023568931413148</c:v>
                </c:pt>
                <c:pt idx="155">
                  <c:v>0.11335941097079605</c:v>
                </c:pt>
                <c:pt idx="156">
                  <c:v>0.13821374492428506</c:v>
                </c:pt>
                <c:pt idx="157">
                  <c:v>0.12176208665921107</c:v>
                </c:pt>
                <c:pt idx="158">
                  <c:v>0.10989806917338174</c:v>
                </c:pt>
                <c:pt idx="159">
                  <c:v>0.10989806917338174</c:v>
                </c:pt>
                <c:pt idx="160">
                  <c:v>0.10989806917338174</c:v>
                </c:pt>
                <c:pt idx="161">
                  <c:v>0.11473457321267011</c:v>
                </c:pt>
                <c:pt idx="162">
                  <c:v>0.131400120350873</c:v>
                </c:pt>
                <c:pt idx="163">
                  <c:v>0.10128580643523044</c:v>
                </c:pt>
                <c:pt idx="164">
                  <c:v>0.06109896172629825</c:v>
                </c:pt>
                <c:pt idx="165">
                  <c:v>0.02732913084802524</c:v>
                </c:pt>
                <c:pt idx="166">
                  <c:v>0.02732913084802524</c:v>
                </c:pt>
                <c:pt idx="167">
                  <c:v>0.02732913084802524</c:v>
                </c:pt>
                <c:pt idx="168">
                  <c:v>0.023558887758414526</c:v>
                </c:pt>
                <c:pt idx="169">
                  <c:v>0.01742750616453481</c:v>
                </c:pt>
                <c:pt idx="170">
                  <c:v>0.00919497667077529</c:v>
                </c:pt>
                <c:pt idx="171">
                  <c:v>0.01434210106718381</c:v>
                </c:pt>
                <c:pt idx="172">
                  <c:v>0.04038764127106176</c:v>
                </c:pt>
                <c:pt idx="173">
                  <c:v>0.04038764127106176</c:v>
                </c:pt>
                <c:pt idx="174">
                  <c:v>0.04038764127106176</c:v>
                </c:pt>
                <c:pt idx="175">
                  <c:v>0.02643563716917252</c:v>
                </c:pt>
                <c:pt idx="176">
                  <c:v>0.01807813926316504</c:v>
                </c:pt>
                <c:pt idx="177">
                  <c:v>0.03543623248450767</c:v>
                </c:pt>
                <c:pt idx="178">
                  <c:v>0.02668354667588213</c:v>
                </c:pt>
                <c:pt idx="179">
                  <c:v>0.02021097113772763</c:v>
                </c:pt>
                <c:pt idx="180">
                  <c:v>0.02021097113772763</c:v>
                </c:pt>
                <c:pt idx="181">
                  <c:v>0.02021097113772763</c:v>
                </c:pt>
                <c:pt idx="182">
                  <c:v>-0.006721560151589978</c:v>
                </c:pt>
                <c:pt idx="183">
                  <c:v>-0.009021595162300056</c:v>
                </c:pt>
                <c:pt idx="184">
                  <c:v>0.020171807434750777</c:v>
                </c:pt>
                <c:pt idx="185">
                  <c:v>0.017330332203020715</c:v>
                </c:pt>
                <c:pt idx="186">
                  <c:v>0.006863290893400542</c:v>
                </c:pt>
                <c:pt idx="187">
                  <c:v>0.006863290893400542</c:v>
                </c:pt>
                <c:pt idx="188">
                  <c:v>0.006863290893400542</c:v>
                </c:pt>
                <c:pt idx="189">
                  <c:v>0.0016792686511295507</c:v>
                </c:pt>
                <c:pt idx="190">
                  <c:v>0.018589159028953306</c:v>
                </c:pt>
                <c:pt idx="191">
                  <c:v>0.022504722930709153</c:v>
                </c:pt>
                <c:pt idx="192">
                  <c:v>0.03475647138267557</c:v>
                </c:pt>
                <c:pt idx="193">
                  <c:v>0.04722253072735105</c:v>
                </c:pt>
                <c:pt idx="194">
                  <c:v>0.04722253072735105</c:v>
                </c:pt>
                <c:pt idx="195">
                  <c:v>0.04722253072735105</c:v>
                </c:pt>
                <c:pt idx="196">
                  <c:v>0.04068542237491646</c:v>
                </c:pt>
                <c:pt idx="197">
                  <c:v>0.05258263158144749</c:v>
                </c:pt>
                <c:pt idx="198">
                  <c:v>0.03654349612475194</c:v>
                </c:pt>
                <c:pt idx="199">
                  <c:v>0.056880427292751</c:v>
                </c:pt>
                <c:pt idx="200">
                  <c:v>0.0614752709634625</c:v>
                </c:pt>
                <c:pt idx="201">
                  <c:v>0.0614752709634625</c:v>
                </c:pt>
                <c:pt idx="202">
                  <c:v>0.0614752709634625</c:v>
                </c:pt>
                <c:pt idx="203">
                  <c:v>0.0695689030602673</c:v>
                </c:pt>
                <c:pt idx="204">
                  <c:v>0.08778149084838427</c:v>
                </c:pt>
                <c:pt idx="205">
                  <c:v>0.0873795131944397</c:v>
                </c:pt>
                <c:pt idx="206">
                  <c:v>0.06898608050770294</c:v>
                </c:pt>
                <c:pt idx="207">
                  <c:v>0.07948175690623271</c:v>
                </c:pt>
                <c:pt idx="208">
                  <c:v>0.07948175690623271</c:v>
                </c:pt>
                <c:pt idx="209">
                  <c:v>0.07948175690623271</c:v>
                </c:pt>
                <c:pt idx="210">
                  <c:v>0.08529304076484467</c:v>
                </c:pt>
                <c:pt idx="211">
                  <c:v>0.04661508528577318</c:v>
                </c:pt>
                <c:pt idx="212">
                  <c:v>0.034678949532157555</c:v>
                </c:pt>
                <c:pt idx="213">
                  <c:v>0.03630705765171882</c:v>
                </c:pt>
                <c:pt idx="214">
                  <c:v>0.034564509999040816</c:v>
                </c:pt>
                <c:pt idx="215">
                  <c:v>0.034564509999040816</c:v>
                </c:pt>
                <c:pt idx="216">
                  <c:v>0.034564509999040816</c:v>
                </c:pt>
                <c:pt idx="217">
                  <c:v>0.01884173779987952</c:v>
                </c:pt>
                <c:pt idx="218">
                  <c:v>0.012272267740224718</c:v>
                </c:pt>
                <c:pt idx="219">
                  <c:v>0.019236249163176344</c:v>
                </c:pt>
                <c:pt idx="220">
                  <c:v>0.007325250544033324</c:v>
                </c:pt>
                <c:pt idx="221">
                  <c:v>0.007286956849990922</c:v>
                </c:pt>
                <c:pt idx="222">
                  <c:v>0.007286956849990922</c:v>
                </c:pt>
                <c:pt idx="223">
                  <c:v>0.007286956849990922</c:v>
                </c:pt>
                <c:pt idx="224">
                  <c:v>0.014218463859840824</c:v>
                </c:pt>
                <c:pt idx="225">
                  <c:v>0.025866773840203194</c:v>
                </c:pt>
                <c:pt idx="226">
                  <c:v>0.018816243986907732</c:v>
                </c:pt>
                <c:pt idx="227">
                  <c:v>0.001542571941372417</c:v>
                </c:pt>
                <c:pt idx="228">
                  <c:v>-0.01305501772767148</c:v>
                </c:pt>
                <c:pt idx="229">
                  <c:v>-0.01305501772767148</c:v>
                </c:pt>
                <c:pt idx="230">
                  <c:v>-0.01305501772767148</c:v>
                </c:pt>
                <c:pt idx="231">
                  <c:v>-0.0497020131155248</c:v>
                </c:pt>
                <c:pt idx="232">
                  <c:v>-0.07295797512721602</c:v>
                </c:pt>
                <c:pt idx="233">
                  <c:v>-0.0643698260242167</c:v>
                </c:pt>
                <c:pt idx="234">
                  <c:v>-0.043597287698314835</c:v>
                </c:pt>
                <c:pt idx="235">
                  <c:v>-0.06978033804445738</c:v>
                </c:pt>
                <c:pt idx="236">
                  <c:v>-0.06978033804445738</c:v>
                </c:pt>
                <c:pt idx="237">
                  <c:v>-0.06978033804445738</c:v>
                </c:pt>
                <c:pt idx="238">
                  <c:v>-0.06640423985537924</c:v>
                </c:pt>
                <c:pt idx="239">
                  <c:v>-0.05999762274361453</c:v>
                </c:pt>
                <c:pt idx="240">
                  <c:v>-0.04591699024775742</c:v>
                </c:pt>
                <c:pt idx="241">
                  <c:v>-0.07436628499797038</c:v>
                </c:pt>
                <c:pt idx="242">
                  <c:v>-0.08061517943393914</c:v>
                </c:pt>
                <c:pt idx="243">
                  <c:v>-0.08061517943393914</c:v>
                </c:pt>
                <c:pt idx="244">
                  <c:v>-0.08061517943393914</c:v>
                </c:pt>
                <c:pt idx="245">
                  <c:v>-0.111101665340818</c:v>
                </c:pt>
                <c:pt idx="246">
                  <c:v>-0.10578122746666208</c:v>
                </c:pt>
                <c:pt idx="247">
                  <c:v>-0.11590283534555323</c:v>
                </c:pt>
                <c:pt idx="248">
                  <c:v>-0.11818061042478045</c:v>
                </c:pt>
                <c:pt idx="249">
                  <c:v>-0.09359889191105653</c:v>
                </c:pt>
                <c:pt idx="250">
                  <c:v>-0.09359889191105653</c:v>
                </c:pt>
                <c:pt idx="251">
                  <c:v>-0.09359889191105653</c:v>
                </c:pt>
                <c:pt idx="252">
                  <c:v>-0.10331979211662878</c:v>
                </c:pt>
                <c:pt idx="253">
                  <c:v>-0.08015261334626089</c:v>
                </c:pt>
                <c:pt idx="254">
                  <c:v>-0.11304639060898813</c:v>
                </c:pt>
                <c:pt idx="255">
                  <c:v>-0.11022535937266542</c:v>
                </c:pt>
                <c:pt idx="256">
                  <c:v>-0.10726105107205852</c:v>
                </c:pt>
                <c:pt idx="257">
                  <c:v>-0.10726105107205852</c:v>
                </c:pt>
                <c:pt idx="258">
                  <c:v>-0.10726105107205852</c:v>
                </c:pt>
                <c:pt idx="259">
                  <c:v>-0.09206938484325833</c:v>
                </c:pt>
                <c:pt idx="260">
                  <c:v>-0.09547270724207979</c:v>
                </c:pt>
                <c:pt idx="261">
                  <c:v>-0.08745634661632762</c:v>
                </c:pt>
                <c:pt idx="262">
                  <c:v>-0.07152118109463734</c:v>
                </c:pt>
                <c:pt idx="263">
                  <c:v>-0.05082762119860529</c:v>
                </c:pt>
                <c:pt idx="264">
                  <c:v>-0.05082762119860529</c:v>
                </c:pt>
                <c:pt idx="265">
                  <c:v>-0.05082762119860529</c:v>
                </c:pt>
                <c:pt idx="266">
                  <c:v>-0.05054343162965447</c:v>
                </c:pt>
                <c:pt idx="267">
                  <c:v>-0.054603102977217266</c:v>
                </c:pt>
                <c:pt idx="268">
                  <c:v>-0.05995742120564085</c:v>
                </c:pt>
                <c:pt idx="269">
                  <c:v>-0.03970088286198481</c:v>
                </c:pt>
                <c:pt idx="270">
                  <c:v>-0.06129386067835174</c:v>
                </c:pt>
                <c:pt idx="271">
                  <c:v>-0.06129386067835174</c:v>
                </c:pt>
                <c:pt idx="272">
                  <c:v>-0.06129386067835174</c:v>
                </c:pt>
                <c:pt idx="273">
                  <c:v>-0.06539458251231356</c:v>
                </c:pt>
                <c:pt idx="274">
                  <c:v>-0.06563578555835758</c:v>
                </c:pt>
                <c:pt idx="275">
                  <c:v>-0.0784832012070702</c:v>
                </c:pt>
                <c:pt idx="276">
                  <c:v>-0.09767979728851228</c:v>
                </c:pt>
                <c:pt idx="277">
                  <c:v>-0.11690498905448521</c:v>
                </c:pt>
                <c:pt idx="278">
                  <c:v>-0.11690498905448521</c:v>
                </c:pt>
                <c:pt idx="279">
                  <c:v>-0.11690498905448521</c:v>
                </c:pt>
                <c:pt idx="280">
                  <c:v>-0.14480439101271314</c:v>
                </c:pt>
                <c:pt idx="281">
                  <c:v>-0.15555200387321255</c:v>
                </c:pt>
                <c:pt idx="282">
                  <c:v>-0.14196911206453466</c:v>
                </c:pt>
                <c:pt idx="283">
                  <c:v>-0.16590435504545187</c:v>
                </c:pt>
                <c:pt idx="284">
                  <c:v>-0.16569541480404038</c:v>
                </c:pt>
                <c:pt idx="285">
                  <c:v>-0.16569541480404038</c:v>
                </c:pt>
                <c:pt idx="286">
                  <c:v>-0.16569541480404038</c:v>
                </c:pt>
                <c:pt idx="287">
                  <c:v>-0.16190560497692563</c:v>
                </c:pt>
                <c:pt idx="288">
                  <c:v>-0.14557577172260538</c:v>
                </c:pt>
                <c:pt idx="289">
                  <c:v>-0.14931938119887156</c:v>
                </c:pt>
                <c:pt idx="290">
                  <c:v>-0.1420075072484216</c:v>
                </c:pt>
                <c:pt idx="291">
                  <c:v>-0.11595981780414677</c:v>
                </c:pt>
                <c:pt idx="292">
                  <c:v>-0.11595981780414677</c:v>
                </c:pt>
                <c:pt idx="293">
                  <c:v>-0.11595981780414677</c:v>
                </c:pt>
                <c:pt idx="294">
                  <c:v>-0.1174109791749055</c:v>
                </c:pt>
                <c:pt idx="295">
                  <c:v>-0.1290650137960042</c:v>
                </c:pt>
                <c:pt idx="296">
                  <c:v>-0.13021678417358984</c:v>
                </c:pt>
                <c:pt idx="297">
                  <c:v>-0.13649953768707945</c:v>
                </c:pt>
                <c:pt idx="298">
                  <c:v>-0.1418613258604292</c:v>
                </c:pt>
                <c:pt idx="299">
                  <c:v>-0.1418613258604292</c:v>
                </c:pt>
                <c:pt idx="300">
                  <c:v>-0.1418613258604292</c:v>
                </c:pt>
                <c:pt idx="301">
                  <c:v>-0.15309135176544053</c:v>
                </c:pt>
                <c:pt idx="302">
                  <c:v>-0.16237394336397648</c:v>
                </c:pt>
                <c:pt idx="303">
                  <c:v>-0.1611797506591044</c:v>
                </c:pt>
                <c:pt idx="304">
                  <c:v>-0.16177622218724563</c:v>
                </c:pt>
                <c:pt idx="305">
                  <c:v>-0.16135433843978197</c:v>
                </c:pt>
                <c:pt idx="306">
                  <c:v>-0.16135433843978197</c:v>
                </c:pt>
                <c:pt idx="307">
                  <c:v>-0.16135433843978197</c:v>
                </c:pt>
                <c:pt idx="308">
                  <c:v>-0.1768983825948811</c:v>
                </c:pt>
                <c:pt idx="309">
                  <c:v>-0.17676819747768024</c:v>
                </c:pt>
                <c:pt idx="310">
                  <c:v>-0.17962384875277604</c:v>
                </c:pt>
                <c:pt idx="311">
                  <c:v>-0.18468710779059883</c:v>
                </c:pt>
                <c:pt idx="312">
                  <c:v>-0.16897290005735743</c:v>
                </c:pt>
                <c:pt idx="313">
                  <c:v>-0.16897290005735743</c:v>
                </c:pt>
                <c:pt idx="314">
                  <c:v>-0.16897290005735743</c:v>
                </c:pt>
                <c:pt idx="315">
                  <c:v>-0.17187421225311705</c:v>
                </c:pt>
                <c:pt idx="316">
                  <c:v>-0.1495581917232166</c:v>
                </c:pt>
                <c:pt idx="317">
                  <c:v>-0.1466635701552239</c:v>
                </c:pt>
                <c:pt idx="318">
                  <c:v>-0.13769524506250053</c:v>
                </c:pt>
                <c:pt idx="319">
                  <c:v>-0.14316040073282255</c:v>
                </c:pt>
                <c:pt idx="320">
                  <c:v>-0.14316040073282255</c:v>
                </c:pt>
                <c:pt idx="321">
                  <c:v>-0.14316040073282255</c:v>
                </c:pt>
                <c:pt idx="322">
                  <c:v>-0.14373703535977322</c:v>
                </c:pt>
                <c:pt idx="323">
                  <c:v>-0.15852586477356023</c:v>
                </c:pt>
                <c:pt idx="324">
                  <c:v>-0.1126056710545692</c:v>
                </c:pt>
                <c:pt idx="325">
                  <c:v>-0.10239689301652899</c:v>
                </c:pt>
                <c:pt idx="326">
                  <c:v>-0.11813099544875616</c:v>
                </c:pt>
                <c:pt idx="327">
                  <c:v>-0.11813099544875616</c:v>
                </c:pt>
                <c:pt idx="328">
                  <c:v>-0.11813099544875616</c:v>
                </c:pt>
                <c:pt idx="329">
                  <c:v>-0.11918908537379891</c:v>
                </c:pt>
                <c:pt idx="330">
                  <c:v>-0.12370847996381107</c:v>
                </c:pt>
                <c:pt idx="331">
                  <c:v>-0.13650510136895566</c:v>
                </c:pt>
                <c:pt idx="332">
                  <c:v>-0.13186416586538108</c:v>
                </c:pt>
                <c:pt idx="333">
                  <c:v>-0.1328137143643684</c:v>
                </c:pt>
                <c:pt idx="334">
                  <c:v>-0.1328137143643684</c:v>
                </c:pt>
                <c:pt idx="335">
                  <c:v>-0.1328137143643684</c:v>
                </c:pt>
                <c:pt idx="336">
                  <c:v>-0.12486702762797763</c:v>
                </c:pt>
                <c:pt idx="337">
                  <c:v>-0.14024034026753496</c:v>
                </c:pt>
                <c:pt idx="338">
                  <c:v>-0.11706899152996764</c:v>
                </c:pt>
                <c:pt idx="339">
                  <c:v>-0.11900238083005044</c:v>
                </c:pt>
                <c:pt idx="340">
                  <c:v>-0.10331385610202315</c:v>
                </c:pt>
                <c:pt idx="341">
                  <c:v>-0.10331385610202315</c:v>
                </c:pt>
                <c:pt idx="342">
                  <c:v>-0.10331385610202315</c:v>
                </c:pt>
                <c:pt idx="343">
                  <c:v>-0.10291379927493716</c:v>
                </c:pt>
                <c:pt idx="344">
                  <c:v>-0.10195404801888808</c:v>
                </c:pt>
                <c:pt idx="345">
                  <c:v>-0.10861119323674229</c:v>
                </c:pt>
                <c:pt idx="346">
                  <c:v>-0.10794233684644894</c:v>
                </c:pt>
                <c:pt idx="347">
                  <c:v>-0.12006233657890353</c:v>
                </c:pt>
                <c:pt idx="348">
                  <c:v>-0.12006233657890353</c:v>
                </c:pt>
                <c:pt idx="349">
                  <c:v>-0.12006233657890353</c:v>
                </c:pt>
                <c:pt idx="350">
                  <c:v>-0.13521621785563764</c:v>
                </c:pt>
                <c:pt idx="351">
                  <c:v>-0.13644560771013325</c:v>
                </c:pt>
                <c:pt idx="352">
                  <c:v>-0.13211893008344766</c:v>
                </c:pt>
                <c:pt idx="353">
                  <c:v>-0.12129958985614897</c:v>
                </c:pt>
                <c:pt idx="354">
                  <c:v>-0.14769652828781066</c:v>
                </c:pt>
                <c:pt idx="355">
                  <c:v>-0.14769652828781066</c:v>
                </c:pt>
                <c:pt idx="356">
                  <c:v>-0.14769652828781066</c:v>
                </c:pt>
                <c:pt idx="357">
                  <c:v>-0.14748505029720704</c:v>
                </c:pt>
                <c:pt idx="358">
                  <c:v>-0.16532244413246144</c:v>
                </c:pt>
                <c:pt idx="359">
                  <c:v>-0.17593276157626236</c:v>
                </c:pt>
                <c:pt idx="360">
                  <c:v>-0.18555056773799417</c:v>
                </c:pt>
                <c:pt idx="361">
                  <c:v>-0.21839643731333414</c:v>
                </c:pt>
                <c:pt idx="362">
                  <c:v>-0.21839643731333414</c:v>
                </c:pt>
                <c:pt idx="363">
                  <c:v>-0.21839643731333414</c:v>
                </c:pt>
                <c:pt idx="364">
                  <c:v>-0.2157126806521189</c:v>
                </c:pt>
                <c:pt idx="365">
                  <c:v>-0.219228909294387</c:v>
                </c:pt>
                <c:pt idx="366">
                  <c:v>-0.20679875822496974</c:v>
                </c:pt>
                <c:pt idx="367">
                  <c:v>-0.20100940905285059</c:v>
                </c:pt>
                <c:pt idx="368">
                  <c:v>-0.184105420898099</c:v>
                </c:pt>
                <c:pt idx="369">
                  <c:v>-0.184105420898099</c:v>
                </c:pt>
                <c:pt idx="370">
                  <c:v>-0.184105420898099</c:v>
                </c:pt>
                <c:pt idx="371">
                  <c:v>-0.1788782663758237</c:v>
                </c:pt>
                <c:pt idx="372">
                  <c:v>-0.20500224717632287</c:v>
                </c:pt>
                <c:pt idx="373">
                  <c:v>-0.2010268734352505</c:v>
                </c:pt>
                <c:pt idx="374">
                  <c:v>-0.20772932489097073</c:v>
                </c:pt>
                <c:pt idx="375">
                  <c:v>-0.21401463494609285</c:v>
                </c:pt>
                <c:pt idx="376">
                  <c:v>-0.21401463494609285</c:v>
                </c:pt>
                <c:pt idx="377">
                  <c:v>-0.21401463494609285</c:v>
                </c:pt>
                <c:pt idx="378">
                  <c:v>-0.22538622204450376</c:v>
                </c:pt>
                <c:pt idx="379">
                  <c:v>-0.21497214259369535</c:v>
                </c:pt>
                <c:pt idx="380">
                  <c:v>-0.22008862398249296</c:v>
                </c:pt>
                <c:pt idx="381">
                  <c:v>-0.23125803635715558</c:v>
                </c:pt>
                <c:pt idx="382">
                  <c:v>-0.2487023190395572</c:v>
                </c:pt>
                <c:pt idx="383">
                  <c:v>-0.2487023190395572</c:v>
                </c:pt>
                <c:pt idx="384">
                  <c:v>-0.2487023190395572</c:v>
                </c:pt>
                <c:pt idx="385">
                  <c:v>-0.23670637395039273</c:v>
                </c:pt>
                <c:pt idx="386">
                  <c:v>-0.25742726996329013</c:v>
                </c:pt>
                <c:pt idx="387">
                  <c:v>-0.24169821589876161</c:v>
                </c:pt>
                <c:pt idx="388">
                  <c:v>-0.2535658645671879</c:v>
                </c:pt>
                <c:pt idx="389">
                  <c:v>-0.2617800209736497</c:v>
                </c:pt>
                <c:pt idx="390">
                  <c:v>-0.2617800209736497</c:v>
                </c:pt>
                <c:pt idx="391">
                  <c:v>-0.2617800209736497</c:v>
                </c:pt>
                <c:pt idx="392">
                  <c:v>-0.24400872478875846</c:v>
                </c:pt>
                <c:pt idx="393">
                  <c:v>-0.22132454222694475</c:v>
                </c:pt>
                <c:pt idx="394">
                  <c:v>-0.22177119102779885</c:v>
                </c:pt>
                <c:pt idx="395">
                  <c:v>-0.22832191103278476</c:v>
                </c:pt>
                <c:pt idx="396">
                  <c:v>-0.24846072539551112</c:v>
                </c:pt>
                <c:pt idx="397">
                  <c:v>-0.24846072539551112</c:v>
                </c:pt>
                <c:pt idx="398">
                  <c:v>-0.24846072539551112</c:v>
                </c:pt>
                <c:pt idx="399">
                  <c:v>-0.24976484184170955</c:v>
                </c:pt>
                <c:pt idx="400">
                  <c:v>-0.26049071394475454</c:v>
                </c:pt>
                <c:pt idx="401">
                  <c:v>-0.2621772754962777</c:v>
                </c:pt>
                <c:pt idx="402">
                  <c:v>-0.24340679887485484</c:v>
                </c:pt>
                <c:pt idx="403">
                  <c:v>-0.25796627190495003</c:v>
                </c:pt>
                <c:pt idx="404">
                  <c:v>-0.25796627190495003</c:v>
                </c:pt>
                <c:pt idx="405">
                  <c:v>-0.25796627190495003</c:v>
                </c:pt>
                <c:pt idx="406">
                  <c:v>-0.23861937684088907</c:v>
                </c:pt>
                <c:pt idx="407">
                  <c:v>-0.22998050378167312</c:v>
                </c:pt>
                <c:pt idx="408">
                  <c:v>-0.23835504552639242</c:v>
                </c:pt>
                <c:pt idx="409">
                  <c:v>-0.2409749478792963</c:v>
                </c:pt>
                <c:pt idx="410">
                  <c:v>-0.22467982119531926</c:v>
                </c:pt>
                <c:pt idx="411">
                  <c:v>-0.22467982119531926</c:v>
                </c:pt>
                <c:pt idx="412">
                  <c:v>-0.22467982119531926</c:v>
                </c:pt>
                <c:pt idx="413">
                  <c:v>-0.22970480476057953</c:v>
                </c:pt>
                <c:pt idx="414">
                  <c:v>-0.2095567212966155</c:v>
                </c:pt>
                <c:pt idx="415">
                  <c:v>-0.2024340138012536</c:v>
                </c:pt>
                <c:pt idx="416">
                  <c:v>-0.2078541618473715</c:v>
                </c:pt>
                <c:pt idx="417">
                  <c:v>-0.19216774915873036</c:v>
                </c:pt>
                <c:pt idx="418">
                  <c:v>-0.19216774915873036</c:v>
                </c:pt>
                <c:pt idx="419">
                  <c:v>-0.19216774915873036</c:v>
                </c:pt>
                <c:pt idx="420">
                  <c:v>-0.19626467150642557</c:v>
                </c:pt>
                <c:pt idx="421">
                  <c:v>-0.18726567741028155</c:v>
                </c:pt>
                <c:pt idx="422">
                  <c:v>-0.21124237926482725</c:v>
                </c:pt>
                <c:pt idx="423">
                  <c:v>-0.2159583943386424</c:v>
                </c:pt>
                <c:pt idx="424">
                  <c:v>-0.19863088586419508</c:v>
                </c:pt>
                <c:pt idx="425">
                  <c:v>-0.19863088586419508</c:v>
                </c:pt>
                <c:pt idx="426">
                  <c:v>-0.19863088586419508</c:v>
                </c:pt>
                <c:pt idx="427">
                  <c:v>-0.19940339288641562</c:v>
                </c:pt>
                <c:pt idx="428">
                  <c:v>-0.18410386527183953</c:v>
                </c:pt>
                <c:pt idx="429">
                  <c:v>-0.19733236272607935</c:v>
                </c:pt>
                <c:pt idx="430">
                  <c:v>-0.154298800042041</c:v>
                </c:pt>
                <c:pt idx="431">
                  <c:v>-0.13932894286348763</c:v>
                </c:pt>
                <c:pt idx="432">
                  <c:v>-0.13932894286348763</c:v>
                </c:pt>
                <c:pt idx="433">
                  <c:v>-0.13932894286348763</c:v>
                </c:pt>
                <c:pt idx="434">
                  <c:v>-0.15133875954303444</c:v>
                </c:pt>
                <c:pt idx="435">
                  <c:v>-0.13346879231445485</c:v>
                </c:pt>
                <c:pt idx="436">
                  <c:v>-0.13727378782590438</c:v>
                </c:pt>
                <c:pt idx="437">
                  <c:v>-0.13606111423140876</c:v>
                </c:pt>
                <c:pt idx="438">
                  <c:v>-0.1310781683490304</c:v>
                </c:pt>
                <c:pt idx="439">
                  <c:v>-0.1310781683490304</c:v>
                </c:pt>
                <c:pt idx="440">
                  <c:v>-0.1310781683490304</c:v>
                </c:pt>
                <c:pt idx="441">
                  <c:v>-0.1342284741940476</c:v>
                </c:pt>
                <c:pt idx="442">
                  <c:v>-0.12313122846916869</c:v>
                </c:pt>
                <c:pt idx="443">
                  <c:v>-0.11100274142066013</c:v>
                </c:pt>
                <c:pt idx="444">
                  <c:v>-0.10860205842356285</c:v>
                </c:pt>
                <c:pt idx="445">
                  <c:v>-0.10291163326784014</c:v>
                </c:pt>
                <c:pt idx="446">
                  <c:v>-0.10291163326784014</c:v>
                </c:pt>
                <c:pt idx="447">
                  <c:v>-0.10291163326784014</c:v>
                </c:pt>
                <c:pt idx="448">
                  <c:v>-0.1147219418335349</c:v>
                </c:pt>
                <c:pt idx="449">
                  <c:v>-0.10941052768278914</c:v>
                </c:pt>
                <c:pt idx="450">
                  <c:v>-0.08348445104228164</c:v>
                </c:pt>
                <c:pt idx="451">
                  <c:v>-0.07627249737450403</c:v>
                </c:pt>
                <c:pt idx="452">
                  <c:v>-0.07561582843669423</c:v>
                </c:pt>
                <c:pt idx="453">
                  <c:v>-0.07561582843669423</c:v>
                </c:pt>
                <c:pt idx="454">
                  <c:v>-0.07561582843669423</c:v>
                </c:pt>
                <c:pt idx="455">
                  <c:v>-0.08905196661384618</c:v>
                </c:pt>
                <c:pt idx="456">
                  <c:v>-0.09796403975209633</c:v>
                </c:pt>
                <c:pt idx="457">
                  <c:v>-0.09509020820353553</c:v>
                </c:pt>
                <c:pt idx="458">
                  <c:v>-0.08760056776159075</c:v>
                </c:pt>
                <c:pt idx="459">
                  <c:v>-0.08952284032694302</c:v>
                </c:pt>
                <c:pt idx="460">
                  <c:v>-0.08952284032694302</c:v>
                </c:pt>
                <c:pt idx="461">
                  <c:v>-0.08952284032694302</c:v>
                </c:pt>
                <c:pt idx="462">
                  <c:v>-0.07744027491310157</c:v>
                </c:pt>
                <c:pt idx="463">
                  <c:v>-0.06772691425135247</c:v>
                </c:pt>
                <c:pt idx="464">
                  <c:v>-0.06745874859185308</c:v>
                </c:pt>
                <c:pt idx="465">
                  <c:v>-0.08766409583333012</c:v>
                </c:pt>
                <c:pt idx="466">
                  <c:v>-0.09447334198083579</c:v>
                </c:pt>
                <c:pt idx="467">
                  <c:v>-0.09447334198083579</c:v>
                </c:pt>
                <c:pt idx="468">
                  <c:v>-0.09447334198083579</c:v>
                </c:pt>
                <c:pt idx="469">
                  <c:v>-0.09196977847550292</c:v>
                </c:pt>
                <c:pt idx="470">
                  <c:v>-0.09111665626633692</c:v>
                </c:pt>
                <c:pt idx="471">
                  <c:v>-0.07434591163870252</c:v>
                </c:pt>
                <c:pt idx="472">
                  <c:v>-0.08487496133744654</c:v>
                </c:pt>
                <c:pt idx="473">
                  <c:v>-0.08071378342000379</c:v>
                </c:pt>
                <c:pt idx="474">
                  <c:v>-0.08071378342000379</c:v>
                </c:pt>
                <c:pt idx="475">
                  <c:v>-0.08071378342000379</c:v>
                </c:pt>
                <c:pt idx="476">
                  <c:v>-0.07681986360784399</c:v>
                </c:pt>
                <c:pt idx="477">
                  <c:v>-0.07740614294978021</c:v>
                </c:pt>
                <c:pt idx="478">
                  <c:v>-0.08568512915557636</c:v>
                </c:pt>
                <c:pt idx="479">
                  <c:v>-0.06844774969746614</c:v>
                </c:pt>
                <c:pt idx="480">
                  <c:v>-0.06980046387429761</c:v>
                </c:pt>
                <c:pt idx="481">
                  <c:v>-0.06980046387429761</c:v>
                </c:pt>
                <c:pt idx="482">
                  <c:v>-0.06980046387429761</c:v>
                </c:pt>
                <c:pt idx="483">
                  <c:v>-0.06814148374337214</c:v>
                </c:pt>
                <c:pt idx="484">
                  <c:v>-0.06969580810587284</c:v>
                </c:pt>
                <c:pt idx="485">
                  <c:v>-0.05617641112251959</c:v>
                </c:pt>
                <c:pt idx="486">
                  <c:v>-0.06191684722371005</c:v>
                </c:pt>
                <c:pt idx="487">
                  <c:v>-0.03866449825462692</c:v>
                </c:pt>
                <c:pt idx="488">
                  <c:v>-0.03866449825462692</c:v>
                </c:pt>
                <c:pt idx="489">
                  <c:v>-0.03866449825462692</c:v>
                </c:pt>
                <c:pt idx="490">
                  <c:v>-0.03465422037377641</c:v>
                </c:pt>
                <c:pt idx="491">
                  <c:v>-0.02705129295619879</c:v>
                </c:pt>
                <c:pt idx="492">
                  <c:v>-0.01636450272298251</c:v>
                </c:pt>
                <c:pt idx="493">
                  <c:v>-0.007581554300319593</c:v>
                </c:pt>
                <c:pt idx="494">
                  <c:v>-0.003678469351651281</c:v>
                </c:pt>
                <c:pt idx="495">
                  <c:v>-0.003678469351651281</c:v>
                </c:pt>
                <c:pt idx="496">
                  <c:v>-0.003678469351651281</c:v>
                </c:pt>
                <c:pt idx="497">
                  <c:v>-0.004280855563675967</c:v>
                </c:pt>
                <c:pt idx="498">
                  <c:v>0.001171326435477127</c:v>
                </c:pt>
                <c:pt idx="499">
                  <c:v>-0.005984498489494339</c:v>
                </c:pt>
                <c:pt idx="500">
                  <c:v>-0.011680997965208828</c:v>
                </c:pt>
                <c:pt idx="501">
                  <c:v>0.016567032890771438</c:v>
                </c:pt>
                <c:pt idx="502">
                  <c:v>0.016567032890771438</c:v>
                </c:pt>
                <c:pt idx="503">
                  <c:v>0.016567032890771438</c:v>
                </c:pt>
                <c:pt idx="504">
                  <c:v>0.017096518921145387</c:v>
                </c:pt>
                <c:pt idx="505">
                  <c:v>0.022385664605915068</c:v>
                </c:pt>
                <c:pt idx="506">
                  <c:v>0.03015363112742353</c:v>
                </c:pt>
                <c:pt idx="507">
                  <c:v>0.0420430926098756</c:v>
                </c:pt>
                <c:pt idx="508">
                  <c:v>0.04677513404483902</c:v>
                </c:pt>
                <c:pt idx="509">
                  <c:v>0.04677513404483902</c:v>
                </c:pt>
                <c:pt idx="510">
                  <c:v>0.04677513404483902</c:v>
                </c:pt>
                <c:pt idx="511">
                  <c:v>0.03596416064855257</c:v>
                </c:pt>
                <c:pt idx="512">
                  <c:v>0.05223190457903759</c:v>
                </c:pt>
                <c:pt idx="513">
                  <c:v>0.06321057427605337</c:v>
                </c:pt>
                <c:pt idx="514">
                  <c:v>0.07633712765932432</c:v>
                </c:pt>
                <c:pt idx="515">
                  <c:v>0.06372695814566498</c:v>
                </c:pt>
                <c:pt idx="516">
                  <c:v>0.06372695814566498</c:v>
                </c:pt>
                <c:pt idx="517">
                  <c:v>0.06372695814566498</c:v>
                </c:pt>
                <c:pt idx="518">
                  <c:v>0.06504013057920432</c:v>
                </c:pt>
                <c:pt idx="519">
                  <c:v>0.06717551080832052</c:v>
                </c:pt>
                <c:pt idx="520">
                  <c:v>0.06086964602145528</c:v>
                </c:pt>
                <c:pt idx="521">
                  <c:v>0.058778345117010966</c:v>
                </c:pt>
                <c:pt idx="522">
                  <c:v>0.058541638305539934</c:v>
                </c:pt>
                <c:pt idx="523">
                  <c:v>0.058541638305539934</c:v>
                </c:pt>
                <c:pt idx="524">
                  <c:v>0.058541638305539934</c:v>
                </c:pt>
                <c:pt idx="525">
                  <c:v>0.07078542145440392</c:v>
                </c:pt>
                <c:pt idx="526">
                  <c:v>0.07299817921899798</c:v>
                </c:pt>
                <c:pt idx="527">
                  <c:v>0.07724485616835497</c:v>
                </c:pt>
                <c:pt idx="528">
                  <c:v>0.06795604160314483</c:v>
                </c:pt>
                <c:pt idx="529">
                  <c:v>0.06716554339518899</c:v>
                </c:pt>
                <c:pt idx="530">
                  <c:v>0.06716554339518899</c:v>
                </c:pt>
                <c:pt idx="531">
                  <c:v>0.06716554339518899</c:v>
                </c:pt>
                <c:pt idx="532">
                  <c:v>0.06225610788110769</c:v>
                </c:pt>
                <c:pt idx="533">
                  <c:v>0.05406779708909659</c:v>
                </c:pt>
                <c:pt idx="534">
                  <c:v>0.05342846826896741</c:v>
                </c:pt>
                <c:pt idx="535">
                  <c:v>0.0612667432906806</c:v>
                </c:pt>
                <c:pt idx="536">
                  <c:v>0.05141279520730779</c:v>
                </c:pt>
                <c:pt idx="537">
                  <c:v>0.05141279520730779</c:v>
                </c:pt>
                <c:pt idx="538">
                  <c:v>0.05141279520730779</c:v>
                </c:pt>
                <c:pt idx="539">
                  <c:v>0.05992131984810922</c:v>
                </c:pt>
                <c:pt idx="540">
                  <c:v>0.0577037112522949</c:v>
                </c:pt>
                <c:pt idx="541">
                  <c:v>0.061123001135862554</c:v>
                </c:pt>
                <c:pt idx="542">
                  <c:v>0.07378915748324677</c:v>
                </c:pt>
                <c:pt idx="543">
                  <c:v>0.0929813844551064</c:v>
                </c:pt>
                <c:pt idx="544">
                  <c:v>0.0929813844551064</c:v>
                </c:pt>
                <c:pt idx="545">
                  <c:v>0.0929813844551064</c:v>
                </c:pt>
                <c:pt idx="546">
                  <c:v>0.09235364250918976</c:v>
                </c:pt>
                <c:pt idx="547">
                  <c:v>0.0828559438769938</c:v>
                </c:pt>
                <c:pt idx="548">
                  <c:v>0.08505545289998273</c:v>
                </c:pt>
                <c:pt idx="549">
                  <c:v>0.07026809513515309</c:v>
                </c:pt>
                <c:pt idx="550">
                  <c:v>0.056812239827173094</c:v>
                </c:pt>
                <c:pt idx="551">
                  <c:v>0.056812239827173094</c:v>
                </c:pt>
                <c:pt idx="552">
                  <c:v>0.056812239827173094</c:v>
                </c:pt>
                <c:pt idx="553">
                  <c:v>0.04987899055157752</c:v>
                </c:pt>
                <c:pt idx="554">
                  <c:v>0.07675695050843134</c:v>
                </c:pt>
                <c:pt idx="555">
                  <c:v>0.059864158794296296</c:v>
                </c:pt>
                <c:pt idx="556">
                  <c:v>0.08993745268990816</c:v>
                </c:pt>
                <c:pt idx="557">
                  <c:v>0.07755445789870508</c:v>
                </c:pt>
                <c:pt idx="558">
                  <c:v>0.07755445789870508</c:v>
                </c:pt>
                <c:pt idx="559">
                  <c:v>0.07755445789870508</c:v>
                </c:pt>
                <c:pt idx="560">
                  <c:v>0.07266281532497021</c:v>
                </c:pt>
                <c:pt idx="561">
                  <c:v>0.10764008029841188</c:v>
                </c:pt>
                <c:pt idx="562">
                  <c:v>0.10379573153429722</c:v>
                </c:pt>
                <c:pt idx="563">
                  <c:v>0.11345440259102446</c:v>
                </c:pt>
                <c:pt idx="564">
                  <c:v>0.12755426968833516</c:v>
                </c:pt>
                <c:pt idx="565">
                  <c:v>0.12755426968833516</c:v>
                </c:pt>
                <c:pt idx="566">
                  <c:v>0.12755426968833516</c:v>
                </c:pt>
                <c:pt idx="567">
                  <c:v>0.13595448404485388</c:v>
                </c:pt>
                <c:pt idx="568">
                  <c:v>0.1420410439339317</c:v>
                </c:pt>
                <c:pt idx="569">
                  <c:v>0.15337721322837994</c:v>
                </c:pt>
                <c:pt idx="570">
                  <c:v>0.1642225768993979</c:v>
                </c:pt>
                <c:pt idx="571">
                  <c:v>0.18466077782583112</c:v>
                </c:pt>
                <c:pt idx="572">
                  <c:v>0.18466077782583112</c:v>
                </c:pt>
                <c:pt idx="573">
                  <c:v>0.18466077782583112</c:v>
                </c:pt>
                <c:pt idx="574">
                  <c:v>0.17762276281451927</c:v>
                </c:pt>
                <c:pt idx="575">
                  <c:v>0.14606401505596844</c:v>
                </c:pt>
                <c:pt idx="576">
                  <c:v>0.12451056747807776</c:v>
                </c:pt>
                <c:pt idx="577">
                  <c:v>0.10348772263394057</c:v>
                </c:pt>
                <c:pt idx="578">
                  <c:v>0.09606082813275485</c:v>
                </c:pt>
                <c:pt idx="579">
                  <c:v>0.09606082813275485</c:v>
                </c:pt>
                <c:pt idx="580">
                  <c:v>0.09606082813275485</c:v>
                </c:pt>
                <c:pt idx="581">
                  <c:v>0.08879270265089412</c:v>
                </c:pt>
                <c:pt idx="582">
                  <c:v>0.09982945101547536</c:v>
                </c:pt>
                <c:pt idx="583">
                  <c:v>0.07085241588375601</c:v>
                </c:pt>
                <c:pt idx="584">
                  <c:v>0.050897518488959737</c:v>
                </c:pt>
                <c:pt idx="585">
                  <c:v>0.03841255160474799</c:v>
                </c:pt>
                <c:pt idx="586">
                  <c:v>0.03841255160474799</c:v>
                </c:pt>
                <c:pt idx="587">
                  <c:v>0.03841255160474799</c:v>
                </c:pt>
                <c:pt idx="588">
                  <c:v>0.01743519396759141</c:v>
                </c:pt>
                <c:pt idx="589">
                  <c:v>-0.009226246000038851</c:v>
                </c:pt>
                <c:pt idx="590">
                  <c:v>-0.007699551502171942</c:v>
                </c:pt>
                <c:pt idx="591">
                  <c:v>-0.02962269579098975</c:v>
                </c:pt>
                <c:pt idx="592">
                  <c:v>-0.032139386043117835</c:v>
                </c:pt>
                <c:pt idx="593">
                  <c:v>-0.032139386043117835</c:v>
                </c:pt>
                <c:pt idx="594">
                  <c:v>-0.032139386043117835</c:v>
                </c:pt>
                <c:pt idx="595">
                  <c:v>-0.023766967965299313</c:v>
                </c:pt>
                <c:pt idx="596">
                  <c:v>-0.039694671508171075</c:v>
                </c:pt>
                <c:pt idx="597">
                  <c:v>-0.03325877768687868</c:v>
                </c:pt>
                <c:pt idx="598">
                  <c:v>-0.01368621462394537</c:v>
                </c:pt>
                <c:pt idx="599">
                  <c:v>-0.002965564197350501</c:v>
                </c:pt>
                <c:pt idx="600">
                  <c:v>-0.002965564197350501</c:v>
                </c:pt>
                <c:pt idx="601">
                  <c:v>-0.002965564197350501</c:v>
                </c:pt>
                <c:pt idx="602">
                  <c:v>-0.016750413312644485</c:v>
                </c:pt>
                <c:pt idx="603">
                  <c:v>-0.01680698940421066</c:v>
                </c:pt>
                <c:pt idx="604">
                  <c:v>-0.019817910152675644</c:v>
                </c:pt>
                <c:pt idx="605">
                  <c:v>-0.019472954210934756</c:v>
                </c:pt>
                <c:pt idx="606">
                  <c:v>0.0069104767006489265</c:v>
                </c:pt>
                <c:pt idx="607">
                  <c:v>0.0069104767006489265</c:v>
                </c:pt>
                <c:pt idx="608">
                  <c:v>0.0069104767006489265</c:v>
                </c:pt>
                <c:pt idx="609">
                  <c:v>0.007574466308340799</c:v>
                </c:pt>
                <c:pt idx="610">
                  <c:v>0.007607744288092633</c:v>
                </c:pt>
                <c:pt idx="611">
                  <c:v>0.017612312911053696</c:v>
                </c:pt>
                <c:pt idx="612">
                  <c:v>0.016709025566628455</c:v>
                </c:pt>
                <c:pt idx="613">
                  <c:v>0.015537119331352489</c:v>
                </c:pt>
                <c:pt idx="614">
                  <c:v>0.015537119331352489</c:v>
                </c:pt>
                <c:pt idx="615">
                  <c:v>0.015537119331352489</c:v>
                </c:pt>
                <c:pt idx="616">
                  <c:v>0.022497396023110072</c:v>
                </c:pt>
                <c:pt idx="617">
                  <c:v>0.038637666928491354</c:v>
                </c:pt>
                <c:pt idx="618">
                  <c:v>0.048101453909736636</c:v>
                </c:pt>
                <c:pt idx="619">
                  <c:v>0.04600145869056704</c:v>
                </c:pt>
                <c:pt idx="620">
                  <c:v>0.05142221952988346</c:v>
                </c:pt>
                <c:pt idx="621">
                  <c:v>0.05142221952988346</c:v>
                </c:pt>
                <c:pt idx="622">
                  <c:v>0.05142221952988346</c:v>
                </c:pt>
                <c:pt idx="623">
                  <c:v>0.06404047931514345</c:v>
                </c:pt>
                <c:pt idx="624">
                  <c:v>0.052565434833077296</c:v>
                </c:pt>
                <c:pt idx="625">
                  <c:v>0.0557745691242888</c:v>
                </c:pt>
                <c:pt idx="626">
                  <c:v>0.06184011075931828</c:v>
                </c:pt>
                <c:pt idx="627">
                  <c:v>0.08689377044853508</c:v>
                </c:pt>
                <c:pt idx="628">
                  <c:v>0.08689377044853508</c:v>
                </c:pt>
                <c:pt idx="629">
                  <c:v>0.08689377044853508</c:v>
                </c:pt>
                <c:pt idx="630">
                  <c:v>0.08488831763707738</c:v>
                </c:pt>
                <c:pt idx="631">
                  <c:v>0.08237844871858413</c:v>
                </c:pt>
                <c:pt idx="632">
                  <c:v>0.07611114587640255</c:v>
                </c:pt>
                <c:pt idx="633">
                  <c:v>0.09562219333390942</c:v>
                </c:pt>
                <c:pt idx="634">
                  <c:v>0.1133768918429694</c:v>
                </c:pt>
                <c:pt idx="635">
                  <c:v>0.1133768918429694</c:v>
                </c:pt>
                <c:pt idx="636">
                  <c:v>0.1133768918429694</c:v>
                </c:pt>
                <c:pt idx="637">
                  <c:v>0.1256781951966086</c:v>
                </c:pt>
                <c:pt idx="638">
                  <c:v>0.132816166447713</c:v>
                </c:pt>
                <c:pt idx="639">
                  <c:v>0.13817799923285068</c:v>
                </c:pt>
                <c:pt idx="640">
                  <c:v>0.14506869796609756</c:v>
                </c:pt>
                <c:pt idx="641">
                  <c:v>0.15422870468802508</c:v>
                </c:pt>
                <c:pt idx="642">
                  <c:v>0.15422870468802508</c:v>
                </c:pt>
                <c:pt idx="643">
                  <c:v>0.15422870468802508</c:v>
                </c:pt>
                <c:pt idx="644">
                  <c:v>0.16224658180084672</c:v>
                </c:pt>
                <c:pt idx="645">
                  <c:v>0.1486081516110609</c:v>
                </c:pt>
                <c:pt idx="646">
                  <c:v>0.10776716772509354</c:v>
                </c:pt>
                <c:pt idx="647">
                  <c:v>0.12292263784246149</c:v>
                </c:pt>
                <c:pt idx="648">
                  <c:v>0.13654236517957186</c:v>
                </c:pt>
                <c:pt idx="649">
                  <c:v>0.13654236517957186</c:v>
                </c:pt>
                <c:pt idx="650">
                  <c:v>0.13654236517957186</c:v>
                </c:pt>
                <c:pt idx="651">
                  <c:v>0.1351201060131646</c:v>
                </c:pt>
                <c:pt idx="652">
                  <c:v>0.1281618727157885</c:v>
                </c:pt>
                <c:pt idx="653">
                  <c:v>0.012167647834678164</c:v>
                </c:pt>
                <c:pt idx="654">
                  <c:v>0.011236807170292407</c:v>
                </c:pt>
                <c:pt idx="655">
                  <c:v>0.015187663183337863</c:v>
                </c:pt>
                <c:pt idx="656">
                  <c:v>0.015187663183337863</c:v>
                </c:pt>
                <c:pt idx="657">
                  <c:v>0.015187663183337863</c:v>
                </c:pt>
                <c:pt idx="658">
                  <c:v>-0.028743727652396855</c:v>
                </c:pt>
                <c:pt idx="659">
                  <c:v>-0.011421317524267782</c:v>
                </c:pt>
                <c:pt idx="660">
                  <c:v>0.0023697045596371424</c:v>
                </c:pt>
                <c:pt idx="661">
                  <c:v>0.004246256504570445</c:v>
                </c:pt>
                <c:pt idx="662">
                  <c:v>0.023520283994221014</c:v>
                </c:pt>
                <c:pt idx="663">
                  <c:v>0.023520283994221014</c:v>
                </c:pt>
                <c:pt idx="664">
                  <c:v>0.023520283994221014</c:v>
                </c:pt>
                <c:pt idx="665">
                  <c:v>0.03271818718927477</c:v>
                </c:pt>
                <c:pt idx="666">
                  <c:v>0.047196116458587456</c:v>
                </c:pt>
                <c:pt idx="667">
                  <c:v>0.04361223024453764</c:v>
                </c:pt>
                <c:pt idx="668">
                  <c:v>0.016897431687624698</c:v>
                </c:pt>
                <c:pt idx="669">
                  <c:v>0.061571132520499505</c:v>
                </c:pt>
                <c:pt idx="670">
                  <c:v>0.061571132520499505</c:v>
                </c:pt>
                <c:pt idx="671">
                  <c:v>0.061571132520499505</c:v>
                </c:pt>
                <c:pt idx="672">
                  <c:v>0.03706449297316006</c:v>
                </c:pt>
                <c:pt idx="673">
                  <c:v>0.06123235115705561</c:v>
                </c:pt>
                <c:pt idx="674">
                  <c:v>0.08327285903076209</c:v>
                </c:pt>
                <c:pt idx="675">
                  <c:v>0.09187400624267217</c:v>
                </c:pt>
                <c:pt idx="676">
                  <c:v>0.10203478362276486</c:v>
                </c:pt>
                <c:pt idx="677">
                  <c:v>0.10203478362276486</c:v>
                </c:pt>
                <c:pt idx="678">
                  <c:v>0.10203478362276486</c:v>
                </c:pt>
                <c:pt idx="679">
                  <c:v>0.11284861014199499</c:v>
                </c:pt>
                <c:pt idx="680">
                  <c:v>0.13780366145350054</c:v>
                </c:pt>
                <c:pt idx="681">
                  <c:v>0.14181758811605705</c:v>
                </c:pt>
                <c:pt idx="682">
                  <c:v>0.1430484919311925</c:v>
                </c:pt>
                <c:pt idx="683">
                  <c:v>0.15707577322089028</c:v>
                </c:pt>
                <c:pt idx="684">
                  <c:v>0.15707577322089028</c:v>
                </c:pt>
                <c:pt idx="685">
                  <c:v>0.15707577322089028</c:v>
                </c:pt>
                <c:pt idx="686">
                  <c:v>0.1723766469657262</c:v>
                </c:pt>
                <c:pt idx="687">
                  <c:v>0.17316991085579647</c:v>
                </c:pt>
                <c:pt idx="688">
                  <c:v>0.1696382044706235</c:v>
                </c:pt>
                <c:pt idx="689">
                  <c:v>0.12040284523267553</c:v>
                </c:pt>
                <c:pt idx="690">
                  <c:v>0.11970279454110422</c:v>
                </c:pt>
                <c:pt idx="691">
                  <c:v>0.11970279454110422</c:v>
                </c:pt>
                <c:pt idx="692">
                  <c:v>0.11970279454110422</c:v>
                </c:pt>
                <c:pt idx="693">
                  <c:v>0.12625454910858935</c:v>
                </c:pt>
                <c:pt idx="694">
                  <c:v>0.14172417926963332</c:v>
                </c:pt>
                <c:pt idx="695">
                  <c:v>0.12858326616239135</c:v>
                </c:pt>
                <c:pt idx="696">
                  <c:v>0.13891294915157038</c:v>
                </c:pt>
                <c:pt idx="697">
                  <c:v>0.13724534866205151</c:v>
                </c:pt>
                <c:pt idx="698">
                  <c:v>0.13724534866205151</c:v>
                </c:pt>
                <c:pt idx="699">
                  <c:v>0.13724534866205151</c:v>
                </c:pt>
                <c:pt idx="700">
                  <c:v>0.1427318052511246</c:v>
                </c:pt>
                <c:pt idx="701">
                  <c:v>0.16445969779641478</c:v>
                </c:pt>
                <c:pt idx="702">
                  <c:v>0.12796714280629073</c:v>
                </c:pt>
                <c:pt idx="703">
                  <c:v>0.11538901370400279</c:v>
                </c:pt>
                <c:pt idx="704">
                  <c:v>0.11697739605528512</c:v>
                </c:pt>
                <c:pt idx="705">
                  <c:v>0.11697739605528512</c:v>
                </c:pt>
                <c:pt idx="706">
                  <c:v>0.11697739605528512</c:v>
                </c:pt>
                <c:pt idx="707">
                  <c:v>0.1290600102513868</c:v>
                </c:pt>
                <c:pt idx="708">
                  <c:v>0.12503681758351703</c:v>
                </c:pt>
                <c:pt idx="709">
                  <c:v>0.12604493001993844</c:v>
                </c:pt>
                <c:pt idx="710">
                  <c:v>0.123954889865447</c:v>
                </c:pt>
                <c:pt idx="711">
                  <c:v>0.12347555661750587</c:v>
                </c:pt>
                <c:pt idx="712">
                  <c:v>0.12347555661750587</c:v>
                </c:pt>
                <c:pt idx="713">
                  <c:v>0.12347555661750587</c:v>
                </c:pt>
                <c:pt idx="714">
                  <c:v>0.11518494083446451</c:v>
                </c:pt>
                <c:pt idx="715">
                  <c:v>0.12349951507752022</c:v>
                </c:pt>
                <c:pt idx="716">
                  <c:v>0.1317048029362038</c:v>
                </c:pt>
                <c:pt idx="717">
                  <c:v>0.11864877213778602</c:v>
                </c:pt>
                <c:pt idx="718">
                  <c:v>0.13271110888626025</c:v>
                </c:pt>
                <c:pt idx="719">
                  <c:v>0.13271110888626025</c:v>
                </c:pt>
                <c:pt idx="720">
                  <c:v>0.13271110888626025</c:v>
                </c:pt>
                <c:pt idx="721">
                  <c:v>0.15094936011993743</c:v>
                </c:pt>
                <c:pt idx="722">
                  <c:v>0.17119153556127342</c:v>
                </c:pt>
                <c:pt idx="723">
                  <c:v>0.1871095822031612</c:v>
                </c:pt>
                <c:pt idx="724">
                  <c:v>0.18150257818334814</c:v>
                </c:pt>
                <c:pt idx="725">
                  <c:v>0.19603464656080605</c:v>
                </c:pt>
                <c:pt idx="726">
                  <c:v>0.19603464656080605</c:v>
                </c:pt>
                <c:pt idx="727">
                  <c:v>0.19603464656080605</c:v>
                </c:pt>
                <c:pt idx="728">
                  <c:v>0.20430913030903164</c:v>
                </c:pt>
                <c:pt idx="729">
                  <c:v>0.19865291517268058</c:v>
                </c:pt>
                <c:pt idx="730">
                  <c:v>0.20151679467294703</c:v>
                </c:pt>
                <c:pt idx="731">
                  <c:v>0.20002624110772294</c:v>
                </c:pt>
                <c:pt idx="732">
                  <c:v>0.21135602992808877</c:v>
                </c:pt>
                <c:pt idx="733">
                  <c:v>0.21135602992808877</c:v>
                </c:pt>
                <c:pt idx="734">
                  <c:v>0.21135602992808877</c:v>
                </c:pt>
                <c:pt idx="735">
                  <c:v>0.22211959277975968</c:v>
                </c:pt>
                <c:pt idx="736">
                  <c:v>0.22476524752261318</c:v>
                </c:pt>
                <c:pt idx="737">
                  <c:v>0.2301513883771975</c:v>
                </c:pt>
                <c:pt idx="738">
                  <c:v>0.24507706569556142</c:v>
                </c:pt>
                <c:pt idx="739">
                  <c:v>0.20466051552107567</c:v>
                </c:pt>
                <c:pt idx="740">
                  <c:v>0.20466051552107567</c:v>
                </c:pt>
                <c:pt idx="741">
                  <c:v>0.20466051552107567</c:v>
                </c:pt>
                <c:pt idx="742">
                  <c:v>0.19561106456925303</c:v>
                </c:pt>
                <c:pt idx="743">
                  <c:v>0.20356465010163838</c:v>
                </c:pt>
                <c:pt idx="744">
                  <c:v>0.19893138688211698</c:v>
                </c:pt>
                <c:pt idx="745">
                  <c:v>0.19105279922805596</c:v>
                </c:pt>
                <c:pt idx="746">
                  <c:v>0.19327622811186607</c:v>
                </c:pt>
                <c:pt idx="747">
                  <c:v>0.19327622811186607</c:v>
                </c:pt>
                <c:pt idx="748">
                  <c:v>0.19327622811186607</c:v>
                </c:pt>
                <c:pt idx="749">
                  <c:v>0.19270200164043616</c:v>
                </c:pt>
                <c:pt idx="750">
                  <c:v>0.18601355739100756</c:v>
                </c:pt>
                <c:pt idx="751">
                  <c:v>0.18566384200622266</c:v>
                </c:pt>
                <c:pt idx="752">
                  <c:v>0.17716533466000994</c:v>
                </c:pt>
                <c:pt idx="753">
                  <c:v>0.17568019180207695</c:v>
                </c:pt>
                <c:pt idx="754">
                  <c:v>0.17568019180207695</c:v>
                </c:pt>
                <c:pt idx="755">
                  <c:v>0.17568019180207695</c:v>
                </c:pt>
                <c:pt idx="756">
                  <c:v>0.18128450268350482</c:v>
                </c:pt>
                <c:pt idx="757">
                  <c:v>0.169185931836368</c:v>
                </c:pt>
                <c:pt idx="758">
                  <c:v>0.18375614677301644</c:v>
                </c:pt>
                <c:pt idx="759">
                  <c:v>0.18657146855183715</c:v>
                </c:pt>
                <c:pt idx="760">
                  <c:v>0.20190155878949367</c:v>
                </c:pt>
                <c:pt idx="761">
                  <c:v>0.20190155878949367</c:v>
                </c:pt>
                <c:pt idx="762">
                  <c:v>0.20190155878949367</c:v>
                </c:pt>
                <c:pt idx="763">
                  <c:v>0.20701063135347408</c:v>
                </c:pt>
                <c:pt idx="764">
                  <c:v>0.22951445564540673</c:v>
                </c:pt>
                <c:pt idx="765">
                  <c:v>0.23469980706716598</c:v>
                </c:pt>
                <c:pt idx="766">
                  <c:v>0.23048911538073713</c:v>
                </c:pt>
                <c:pt idx="767">
                  <c:v>0.22050551865204504</c:v>
                </c:pt>
                <c:pt idx="768">
                  <c:v>0.22050551865204504</c:v>
                </c:pt>
                <c:pt idx="769">
                  <c:v>0.22050551865204504</c:v>
                </c:pt>
                <c:pt idx="770">
                  <c:v>0.22353279564240802</c:v>
                </c:pt>
                <c:pt idx="771">
                  <c:v>0.22103478443230884</c:v>
                </c:pt>
                <c:pt idx="772">
                  <c:v>0.2116005792176021</c:v>
                </c:pt>
                <c:pt idx="773">
                  <c:v>0.21176194516340208</c:v>
                </c:pt>
                <c:pt idx="774">
                  <c:v>0.19165025618080267</c:v>
                </c:pt>
                <c:pt idx="775">
                  <c:v>0.19165025618080267</c:v>
                </c:pt>
                <c:pt idx="776">
                  <c:v>0.19165025618080267</c:v>
                </c:pt>
                <c:pt idx="777">
                  <c:v>0.19336318843032374</c:v>
                </c:pt>
                <c:pt idx="778">
                  <c:v>0.2077377299583978</c:v>
                </c:pt>
                <c:pt idx="779">
                  <c:v>0.19401761086350588</c:v>
                </c:pt>
                <c:pt idx="780">
                  <c:v>0.18889891667472836</c:v>
                </c:pt>
                <c:pt idx="781">
                  <c:v>0.19005901812503412</c:v>
                </c:pt>
                <c:pt idx="782">
                  <c:v>0.19005901812503412</c:v>
                </c:pt>
                <c:pt idx="783">
                  <c:v>0.19005901812503412</c:v>
                </c:pt>
                <c:pt idx="784">
                  <c:v>0.20384004761796026</c:v>
                </c:pt>
                <c:pt idx="785">
                  <c:v>0.21379979867267873</c:v>
                </c:pt>
                <c:pt idx="786">
                  <c:v>0.22655861738432992</c:v>
                </c:pt>
                <c:pt idx="787">
                  <c:v>0.25465833146003747</c:v>
                </c:pt>
                <c:pt idx="788">
                  <c:v>0.26902935432663555</c:v>
                </c:pt>
                <c:pt idx="789">
                  <c:v>0.26902935432663555</c:v>
                </c:pt>
                <c:pt idx="790">
                  <c:v>0.26902935432663555</c:v>
                </c:pt>
                <c:pt idx="791">
                  <c:v>0.2676815546425495</c:v>
                </c:pt>
                <c:pt idx="792">
                  <c:v>0.274448890663219</c:v>
                </c:pt>
                <c:pt idx="793">
                  <c:v>0.29063853705435405</c:v>
                </c:pt>
                <c:pt idx="794">
                  <c:v>0.28754661566069517</c:v>
                </c:pt>
                <c:pt idx="795">
                  <c:v>0.3145018086360254</c:v>
                </c:pt>
                <c:pt idx="796">
                  <c:v>0.3145018086360254</c:v>
                </c:pt>
                <c:pt idx="797">
                  <c:v>0.3145018086360254</c:v>
                </c:pt>
                <c:pt idx="798">
                  <c:v>0.31442310021512543</c:v>
                </c:pt>
                <c:pt idx="799">
                  <c:v>0.3479934563976437</c:v>
                </c:pt>
                <c:pt idx="800">
                  <c:v>0.3561033317712352</c:v>
                </c:pt>
                <c:pt idx="801">
                  <c:v>0.36274386154811555</c:v>
                </c:pt>
                <c:pt idx="802">
                  <c:v>0.37452128722012556</c:v>
                </c:pt>
                <c:pt idx="803">
                  <c:v>0.37452128722012556</c:v>
                </c:pt>
                <c:pt idx="804">
                  <c:v>0.37452128722012556</c:v>
                </c:pt>
                <c:pt idx="805">
                  <c:v>0.3825828493668255</c:v>
                </c:pt>
                <c:pt idx="806">
                  <c:v>0.3866557056294888</c:v>
                </c:pt>
                <c:pt idx="807">
                  <c:v>0.3933141893728338</c:v>
                </c:pt>
                <c:pt idx="808">
                  <c:v>0.3946624677265127</c:v>
                </c:pt>
                <c:pt idx="809">
                  <c:v>0.4028349446566204</c:v>
                </c:pt>
                <c:pt idx="810">
                  <c:v>0.4028349446566204</c:v>
                </c:pt>
                <c:pt idx="811">
                  <c:v>0.4028349446566204</c:v>
                </c:pt>
                <c:pt idx="812">
                  <c:v>0.4040328792567518</c:v>
                </c:pt>
                <c:pt idx="813">
                  <c:v>0.41274783452477615</c:v>
                </c:pt>
                <c:pt idx="814">
                  <c:v>0.41498150103002396</c:v>
                </c:pt>
                <c:pt idx="815">
                  <c:v>0.4261214995306868</c:v>
                </c:pt>
                <c:pt idx="816">
                  <c:v>0.43574231439885214</c:v>
                </c:pt>
                <c:pt idx="817">
                  <c:v>0.43574231439885214</c:v>
                </c:pt>
                <c:pt idx="818">
                  <c:v>0.43574231439885214</c:v>
                </c:pt>
                <c:pt idx="819">
                  <c:v>0.4292442307201114</c:v>
                </c:pt>
                <c:pt idx="820">
                  <c:v>0.43071595594509304</c:v>
                </c:pt>
                <c:pt idx="821">
                  <c:v>0.4360801188432919</c:v>
                </c:pt>
                <c:pt idx="822">
                  <c:v>0.452005718135831</c:v>
                </c:pt>
                <c:pt idx="823">
                  <c:v>0.4694834401775174</c:v>
                </c:pt>
                <c:pt idx="824">
                  <c:v>0.4694834401775174</c:v>
                </c:pt>
                <c:pt idx="825">
                  <c:v>0.4694834401775174</c:v>
                </c:pt>
                <c:pt idx="826">
                  <c:v>0.4668424542314764</c:v>
                </c:pt>
                <c:pt idx="827">
                  <c:v>0.4826802469241238</c:v>
                </c:pt>
                <c:pt idx="828">
                  <c:v>0.5064284288890357</c:v>
                </c:pt>
                <c:pt idx="829">
                  <c:v>0.5208971444791992</c:v>
                </c:pt>
                <c:pt idx="830">
                  <c:v>0.5215751043565513</c:v>
                </c:pt>
                <c:pt idx="831">
                  <c:v>0.5215751043565513</c:v>
                </c:pt>
                <c:pt idx="832">
                  <c:v>0.5215751043565513</c:v>
                </c:pt>
                <c:pt idx="833">
                  <c:v>0.554405778520781</c:v>
                </c:pt>
                <c:pt idx="834">
                  <c:v>0.5648625823929236</c:v>
                </c:pt>
                <c:pt idx="835">
                  <c:v>0.5512321568971483</c:v>
                </c:pt>
                <c:pt idx="836">
                  <c:v>0.5813753932524499</c:v>
                </c:pt>
                <c:pt idx="837">
                  <c:v>0.5846395989893121</c:v>
                </c:pt>
                <c:pt idx="838">
                  <c:v>0.5846395989893121</c:v>
                </c:pt>
                <c:pt idx="839">
                  <c:v>0.5846395989893121</c:v>
                </c:pt>
                <c:pt idx="840">
                  <c:v>0.5914273603284728</c:v>
                </c:pt>
                <c:pt idx="841">
                  <c:v>0.5991344580750226</c:v>
                </c:pt>
                <c:pt idx="842">
                  <c:v>0.6047739908402874</c:v>
                </c:pt>
                <c:pt idx="843">
                  <c:v>0.6100459537631835</c:v>
                </c:pt>
                <c:pt idx="844">
                  <c:v>0.6255578355219382</c:v>
                </c:pt>
                <c:pt idx="845">
                  <c:v>0.6255578355219382</c:v>
                </c:pt>
                <c:pt idx="846">
                  <c:v>0.6255578355219382</c:v>
                </c:pt>
                <c:pt idx="847">
                  <c:v>0.6234672485997848</c:v>
                </c:pt>
                <c:pt idx="848">
                  <c:v>0.6110460403886031</c:v>
                </c:pt>
                <c:pt idx="849">
                  <c:v>0.5935932906180124</c:v>
                </c:pt>
                <c:pt idx="850">
                  <c:v>0.5930188791141242</c:v>
                </c:pt>
                <c:pt idx="851">
                  <c:v>0.5957487820080964</c:v>
                </c:pt>
                <c:pt idx="852">
                  <c:v>0.5957487820080964</c:v>
                </c:pt>
                <c:pt idx="853">
                  <c:v>0.5957487820080964</c:v>
                </c:pt>
                <c:pt idx="854">
                  <c:v>0.6121183418239262</c:v>
                </c:pt>
                <c:pt idx="855">
                  <c:v>0.6181766801076007</c:v>
                </c:pt>
                <c:pt idx="856">
                  <c:v>0.6272262949712382</c:v>
                </c:pt>
                <c:pt idx="857">
                  <c:v>0.6300326365701481</c:v>
                </c:pt>
                <c:pt idx="858">
                  <c:v>0.6400026135546992</c:v>
                </c:pt>
                <c:pt idx="859">
                  <c:v>0.6400026135546992</c:v>
                </c:pt>
                <c:pt idx="860">
                  <c:v>0.6400026135546992</c:v>
                </c:pt>
                <c:pt idx="861">
                  <c:v>0.6374941699036565</c:v>
                </c:pt>
                <c:pt idx="862">
                  <c:v>0.6262824400022433</c:v>
                </c:pt>
                <c:pt idx="863">
                  <c:v>0.6230097098034297</c:v>
                </c:pt>
                <c:pt idx="864">
                  <c:v>0.636335022404819</c:v>
                </c:pt>
                <c:pt idx="865">
                  <c:v>0.658492324013376</c:v>
                </c:pt>
                <c:pt idx="866">
                  <c:v>0.658492324013376</c:v>
                </c:pt>
                <c:pt idx="867">
                  <c:v>0.658492324013376</c:v>
                </c:pt>
                <c:pt idx="868">
                  <c:v>0.6635836037533478</c:v>
                </c:pt>
                <c:pt idx="869">
                  <c:v>0.6721850575069077</c:v>
                </c:pt>
                <c:pt idx="870">
                  <c:v>0.6825836231754336</c:v>
                </c:pt>
                <c:pt idx="871">
                  <c:v>0.6996070279664675</c:v>
                </c:pt>
                <c:pt idx="872">
                  <c:v>0.7083324472446806</c:v>
                </c:pt>
                <c:pt idx="873">
                  <c:v>0.7083324472446806</c:v>
                </c:pt>
                <c:pt idx="874">
                  <c:v>0.7083324472446806</c:v>
                </c:pt>
                <c:pt idx="875">
                  <c:v>0.7255505571379033</c:v>
                </c:pt>
                <c:pt idx="876">
                  <c:v>0.727968574677619</c:v>
                </c:pt>
                <c:pt idx="877">
                  <c:v>0.709401475672921</c:v>
                </c:pt>
                <c:pt idx="878">
                  <c:v>0.7277435539391053</c:v>
                </c:pt>
                <c:pt idx="879">
                  <c:v>0.7437628547299033</c:v>
                </c:pt>
                <c:pt idx="880">
                  <c:v>0.7437628547299033</c:v>
                </c:pt>
                <c:pt idx="881">
                  <c:v>0.7437628547299033</c:v>
                </c:pt>
                <c:pt idx="882">
                  <c:v>0.7535462897237333</c:v>
                </c:pt>
                <c:pt idx="883">
                  <c:v>0.7464128346406482</c:v>
                </c:pt>
                <c:pt idx="884">
                  <c:v>0.7512697735209668</c:v>
                </c:pt>
                <c:pt idx="885">
                  <c:v>0.740372523252202</c:v>
                </c:pt>
                <c:pt idx="886">
                  <c:v>0.7502185843883962</c:v>
                </c:pt>
                <c:pt idx="887">
                  <c:v>0.7502185843883962</c:v>
                </c:pt>
                <c:pt idx="888">
                  <c:v>0.7502185843883962</c:v>
                </c:pt>
                <c:pt idx="889">
                  <c:v>0.749890796091317</c:v>
                </c:pt>
                <c:pt idx="890">
                  <c:v>0.723485417467802</c:v>
                </c:pt>
                <c:pt idx="891">
                  <c:v>0.7362291600596418</c:v>
                </c:pt>
                <c:pt idx="892">
                  <c:v>0.7469230952812589</c:v>
                </c:pt>
                <c:pt idx="893">
                  <c:v>0.7125066505876305</c:v>
                </c:pt>
                <c:pt idx="894">
                  <c:v>0.7125066505876305</c:v>
                </c:pt>
                <c:pt idx="895">
                  <c:v>0.7125066505876305</c:v>
                </c:pt>
                <c:pt idx="896">
                  <c:v>0.6106677992088392</c:v>
                </c:pt>
                <c:pt idx="897">
                  <c:v>0.48384068127398483</c:v>
                </c:pt>
                <c:pt idx="898">
                  <c:v>0.47485497011264344</c:v>
                </c:pt>
                <c:pt idx="899">
                  <c:v>0.5067526204178374</c:v>
                </c:pt>
                <c:pt idx="900">
                  <c:v>0.5079267959726219</c:v>
                </c:pt>
                <c:pt idx="901">
                  <c:v>0.5079267959726219</c:v>
                </c:pt>
                <c:pt idx="902">
                  <c:v>0.5079267959726219</c:v>
                </c:pt>
                <c:pt idx="903">
                  <c:v>0.5118610059286848</c:v>
                </c:pt>
                <c:pt idx="904">
                  <c:v>0.5158450408127999</c:v>
                </c:pt>
                <c:pt idx="905">
                  <c:v>0.5241364676649387</c:v>
                </c:pt>
                <c:pt idx="906">
                  <c:v>0.5289535900368114</c:v>
                </c:pt>
                <c:pt idx="907">
                  <c:v>0.5709780894261012</c:v>
                </c:pt>
                <c:pt idx="908">
                  <c:v>0.5709780894261012</c:v>
                </c:pt>
                <c:pt idx="909">
                  <c:v>0.5709780894261012</c:v>
                </c:pt>
                <c:pt idx="910">
                  <c:v>0.5627737935715602</c:v>
                </c:pt>
                <c:pt idx="911">
                  <c:v>0.562398688237358</c:v>
                </c:pt>
                <c:pt idx="912">
                  <c:v>0.584409016982465</c:v>
                </c:pt>
                <c:pt idx="913">
                  <c:v>0.6071417483051265</c:v>
                </c:pt>
                <c:pt idx="914">
                  <c:v>0.6090539355761853</c:v>
                </c:pt>
                <c:pt idx="915">
                  <c:v>0.6090539355761853</c:v>
                </c:pt>
                <c:pt idx="916">
                  <c:v>0.6090539355761853</c:v>
                </c:pt>
                <c:pt idx="917">
                  <c:v>0.6106609580922027</c:v>
                </c:pt>
                <c:pt idx="918">
                  <c:v>0.6430817235046298</c:v>
                </c:pt>
                <c:pt idx="919">
                  <c:v>0.657030281479702</c:v>
                </c:pt>
                <c:pt idx="920">
                  <c:v>0.6574203101215355</c:v>
                </c:pt>
                <c:pt idx="921">
                  <c:v>0.6612934074480332</c:v>
                </c:pt>
                <c:pt idx="922">
                  <c:v>0.6612934074480332</c:v>
                </c:pt>
                <c:pt idx="923">
                  <c:v>0.6612934074480332</c:v>
                </c:pt>
                <c:pt idx="924">
                  <c:v>0.6798298665533138</c:v>
                </c:pt>
                <c:pt idx="925">
                  <c:v>0.7214434805843835</c:v>
                </c:pt>
                <c:pt idx="926">
                  <c:v>0.7467112121361843</c:v>
                </c:pt>
                <c:pt idx="927">
                  <c:v>0.7591388318803984</c:v>
                </c:pt>
                <c:pt idx="928">
                  <c:v>0.7733571856318198</c:v>
                </c:pt>
                <c:pt idx="929">
                  <c:v>0.7733571856318198</c:v>
                </c:pt>
                <c:pt idx="930">
                  <c:v>0.7733571856318198</c:v>
                </c:pt>
                <c:pt idx="931">
                  <c:v>0.7721153035333466</c:v>
                </c:pt>
                <c:pt idx="932">
                  <c:v>0.8111791705881293</c:v>
                </c:pt>
                <c:pt idx="933">
                  <c:v>0.7330493757617451</c:v>
                </c:pt>
                <c:pt idx="934">
                  <c:v>0.7190357103306484</c:v>
                </c:pt>
                <c:pt idx="935">
                  <c:v>0.6892602323788037</c:v>
                </c:pt>
                <c:pt idx="936">
                  <c:v>0.6892602323788037</c:v>
                </c:pt>
                <c:pt idx="937">
                  <c:v>0.6892602323788037</c:v>
                </c:pt>
                <c:pt idx="938">
                  <c:v>0.6992679223132372</c:v>
                </c:pt>
                <c:pt idx="939">
                  <c:v>0.6907410840826029</c:v>
                </c:pt>
                <c:pt idx="940">
                  <c:v>0.6779611415237006</c:v>
                </c:pt>
                <c:pt idx="941">
                  <c:v>0.6533003191054467</c:v>
                </c:pt>
                <c:pt idx="942">
                  <c:v>0.6705009078314181</c:v>
                </c:pt>
                <c:pt idx="943">
                  <c:v>0.6705009078314181</c:v>
                </c:pt>
                <c:pt idx="944">
                  <c:v>0.6705009078314181</c:v>
                </c:pt>
                <c:pt idx="945">
                  <c:v>0.6666366232138485</c:v>
                </c:pt>
                <c:pt idx="946">
                  <c:v>0.6654485142912068</c:v>
                </c:pt>
                <c:pt idx="947">
                  <c:v>0.6609020812868691</c:v>
                </c:pt>
                <c:pt idx="948">
                  <c:v>0.6725419619088395</c:v>
                </c:pt>
                <c:pt idx="949">
                  <c:v>0.6584595763731051</c:v>
                </c:pt>
                <c:pt idx="950">
                  <c:v>0.6584595763731051</c:v>
                </c:pt>
                <c:pt idx="951">
                  <c:v>0.6584595763731051</c:v>
                </c:pt>
                <c:pt idx="952">
                  <c:v>0.6382762025933981</c:v>
                </c:pt>
                <c:pt idx="953">
                  <c:v>0.639208790597718</c:v>
                </c:pt>
                <c:pt idx="954">
                  <c:v>0.633249580523916</c:v>
                </c:pt>
                <c:pt idx="955">
                  <c:v>0.6403087724467145</c:v>
                </c:pt>
                <c:pt idx="956">
                  <c:v>0.6539382236405409</c:v>
                </c:pt>
                <c:pt idx="957">
                  <c:v>0.6539382236405409</c:v>
                </c:pt>
                <c:pt idx="958">
                  <c:v>0.6539382236405409</c:v>
                </c:pt>
                <c:pt idx="959">
                  <c:v>0.6737036339015654</c:v>
                </c:pt>
                <c:pt idx="960">
                  <c:v>0.7074740742220342</c:v>
                </c:pt>
                <c:pt idx="961">
                  <c:v>0.7063297681793361</c:v>
                </c:pt>
                <c:pt idx="962">
                  <c:v>0.7198743079678149</c:v>
                </c:pt>
                <c:pt idx="963">
                  <c:v>0.7490306325270042</c:v>
                </c:pt>
                <c:pt idx="964">
                  <c:v>0.7490306325270042</c:v>
                </c:pt>
                <c:pt idx="965">
                  <c:v>0.7490306325270042</c:v>
                </c:pt>
                <c:pt idx="966">
                  <c:v>0.7726220574250775</c:v>
                </c:pt>
                <c:pt idx="967">
                  <c:v>0.7510028576733716</c:v>
                </c:pt>
                <c:pt idx="968">
                  <c:v>0.7557650306782713</c:v>
                </c:pt>
                <c:pt idx="969">
                  <c:v>0.7767606936338987</c:v>
                </c:pt>
                <c:pt idx="970">
                  <c:v>0.8068357639616779</c:v>
                </c:pt>
                <c:pt idx="971">
                  <c:v>0.8068357639616779</c:v>
                </c:pt>
                <c:pt idx="972">
                  <c:v>0.8068357639616779</c:v>
                </c:pt>
                <c:pt idx="973">
                  <c:v>0.8227869841382773</c:v>
                </c:pt>
                <c:pt idx="974">
                  <c:v>0.8401968781095992</c:v>
                </c:pt>
                <c:pt idx="975">
                  <c:v>0.8343358205770011</c:v>
                </c:pt>
                <c:pt idx="976">
                  <c:v>0.8608786507851038</c:v>
                </c:pt>
                <c:pt idx="977">
                  <c:v>0.8665556320537231</c:v>
                </c:pt>
                <c:pt idx="978">
                  <c:v>0.8665556320537231</c:v>
                </c:pt>
                <c:pt idx="979">
                  <c:v>0.8665556320537231</c:v>
                </c:pt>
                <c:pt idx="980">
                  <c:v>0.8688923037888368</c:v>
                </c:pt>
                <c:pt idx="981">
                  <c:v>0.7638946095357331</c:v>
                </c:pt>
                <c:pt idx="982">
                  <c:v>0.7357569047107144</c:v>
                </c:pt>
                <c:pt idx="983">
                  <c:v>0.7737697269869739</c:v>
                </c:pt>
                <c:pt idx="984">
                  <c:v>0.7538400405636054</c:v>
                </c:pt>
                <c:pt idx="985">
                  <c:v>0.7538400405636054</c:v>
                </c:pt>
                <c:pt idx="986">
                  <c:v>0.7538400405636054</c:v>
                </c:pt>
                <c:pt idx="987">
                  <c:v>0.7629924851195917</c:v>
                </c:pt>
                <c:pt idx="988">
                  <c:v>0.7952574808229673</c:v>
                </c:pt>
                <c:pt idx="989">
                  <c:v>0.7853213521599176</c:v>
                </c:pt>
                <c:pt idx="990">
                  <c:v>0.7913952494407288</c:v>
                </c:pt>
                <c:pt idx="991">
                  <c:v>0.8297547031898704</c:v>
                </c:pt>
                <c:pt idx="992">
                  <c:v>0.8297547031898704</c:v>
                </c:pt>
                <c:pt idx="993">
                  <c:v>0.8297547031898704</c:v>
                </c:pt>
                <c:pt idx="994">
                  <c:v>0.8424015875396516</c:v>
                </c:pt>
                <c:pt idx="995">
                  <c:v>0.8509959644938756</c:v>
                </c:pt>
                <c:pt idx="996">
                  <c:v>0.8460619137673147</c:v>
                </c:pt>
                <c:pt idx="997">
                  <c:v>0.8568469543126458</c:v>
                </c:pt>
                <c:pt idx="998">
                  <c:v>0.8677911613650373</c:v>
                </c:pt>
                <c:pt idx="999">
                  <c:v>0.8677911613650373</c:v>
                </c:pt>
                <c:pt idx="1000">
                  <c:v>0.8677911613650373</c:v>
                </c:pt>
                <c:pt idx="1001">
                  <c:v>0.7735627649420866</c:v>
                </c:pt>
                <c:pt idx="1002">
                  <c:v>0.7878783846726058</c:v>
                </c:pt>
                <c:pt idx="1003">
                  <c:v>0.8197895152399723</c:v>
                </c:pt>
                <c:pt idx="1004">
                  <c:v>0.8303419823659237</c:v>
                </c:pt>
                <c:pt idx="1005">
                  <c:v>0.817740188897695</c:v>
                </c:pt>
                <c:pt idx="1006">
                  <c:v>0.817740188897695</c:v>
                </c:pt>
                <c:pt idx="1007">
                  <c:v>0.817740188897695</c:v>
                </c:pt>
                <c:pt idx="1008">
                  <c:v>0.8447929500871114</c:v>
                </c:pt>
                <c:pt idx="1009">
                  <c:v>0.8328939415577732</c:v>
                </c:pt>
                <c:pt idx="1010">
                  <c:v>0.8421821237855893</c:v>
                </c:pt>
                <c:pt idx="1011">
                  <c:v>0.8512792803489286</c:v>
                </c:pt>
                <c:pt idx="1012">
                  <c:v>0.8414423794215609</c:v>
                </c:pt>
                <c:pt idx="1013">
                  <c:v>0.8414423794215609</c:v>
                </c:pt>
                <c:pt idx="1014">
                  <c:v>0.8414423794215609</c:v>
                </c:pt>
                <c:pt idx="1015">
                  <c:v>0.8334273351362136</c:v>
                </c:pt>
                <c:pt idx="1016">
                  <c:v>0.8174767917179102</c:v>
                </c:pt>
                <c:pt idx="1017">
                  <c:v>0.8181463430538953</c:v>
                </c:pt>
                <c:pt idx="1018">
                  <c:v>0.7937081979482361</c:v>
                </c:pt>
                <c:pt idx="1019">
                  <c:v>0.7820419834909893</c:v>
                </c:pt>
                <c:pt idx="1020">
                  <c:v>0.7820419834909893</c:v>
                </c:pt>
                <c:pt idx="1021">
                  <c:v>0.7820419834909893</c:v>
                </c:pt>
                <c:pt idx="1022">
                  <c:v>0.7821809340280952</c:v>
                </c:pt>
                <c:pt idx="1023">
                  <c:v>0.7893958958741853</c:v>
                </c:pt>
                <c:pt idx="1024">
                  <c:v>0.8092334086127291</c:v>
                </c:pt>
                <c:pt idx="1025">
                  <c:v>0.8183725731861498</c:v>
                </c:pt>
                <c:pt idx="1026">
                  <c:v>0.8046170654254425</c:v>
                </c:pt>
                <c:pt idx="1027">
                  <c:v>0.8046170654254425</c:v>
                </c:pt>
                <c:pt idx="1028">
                  <c:v>0.8046170654254425</c:v>
                </c:pt>
                <c:pt idx="1029">
                  <c:v>0.685755532025289</c:v>
                </c:pt>
                <c:pt idx="1030">
                  <c:v>0.6928386349081215</c:v>
                </c:pt>
                <c:pt idx="1031">
                  <c:v>0.7136777728250263</c:v>
                </c:pt>
                <c:pt idx="1032">
                  <c:v>0.722666096554329</c:v>
                </c:pt>
                <c:pt idx="1033">
                  <c:v>0.7424222997549528</c:v>
                </c:pt>
                <c:pt idx="1034">
                  <c:v>0.7424222997549528</c:v>
                </c:pt>
                <c:pt idx="1035">
                  <c:v>0.7424222997549528</c:v>
                </c:pt>
                <c:pt idx="1036">
                  <c:v>0.7557910471766311</c:v>
                </c:pt>
                <c:pt idx="1037">
                  <c:v>0.7614739951628859</c:v>
                </c:pt>
                <c:pt idx="1038">
                  <c:v>0.7873670892059483</c:v>
                </c:pt>
                <c:pt idx="1039">
                  <c:v>0.8257750293151589</c:v>
                </c:pt>
                <c:pt idx="1040">
                  <c:v>0.839222534409519</c:v>
                </c:pt>
                <c:pt idx="1041">
                  <c:v>0.839222534409519</c:v>
                </c:pt>
                <c:pt idx="1042">
                  <c:v>0.839222534409519</c:v>
                </c:pt>
                <c:pt idx="1043">
                  <c:v>0.8465982824983369</c:v>
                </c:pt>
                <c:pt idx="1044">
                  <c:v>0.8651883219320318</c:v>
                </c:pt>
                <c:pt idx="1045">
                  <c:v>0.860112601612999</c:v>
                </c:pt>
                <c:pt idx="1046">
                  <c:v>0.857610862554409</c:v>
                </c:pt>
                <c:pt idx="1047">
                  <c:v>0.8714454479924827</c:v>
                </c:pt>
                <c:pt idx="1048">
                  <c:v>0.8714454479924827</c:v>
                </c:pt>
                <c:pt idx="1049">
                  <c:v>0.8714454479924827</c:v>
                </c:pt>
                <c:pt idx="1050">
                  <c:v>0.8256397727528948</c:v>
                </c:pt>
                <c:pt idx="1051">
                  <c:v>0.8488281921694167</c:v>
                </c:pt>
                <c:pt idx="1052">
                  <c:v>0.8109319851205843</c:v>
                </c:pt>
                <c:pt idx="1053">
                  <c:v>0.8117287632303998</c:v>
                </c:pt>
                <c:pt idx="1054">
                  <c:v>0.8372727131726512</c:v>
                </c:pt>
                <c:pt idx="1055">
                  <c:v>0.8372727131726512</c:v>
                </c:pt>
                <c:pt idx="1056">
                  <c:v>0.8372727131726512</c:v>
                </c:pt>
                <c:pt idx="1057">
                  <c:v>0.8367299849278513</c:v>
                </c:pt>
                <c:pt idx="1058">
                  <c:v>0.8342585323394334</c:v>
                </c:pt>
                <c:pt idx="1059">
                  <c:v>0.8822718497053521</c:v>
                </c:pt>
                <c:pt idx="1060">
                  <c:v>0.8229709261224265</c:v>
                </c:pt>
                <c:pt idx="1061">
                  <c:v>0.7762442429654532</c:v>
                </c:pt>
                <c:pt idx="1062">
                  <c:v>0.7762442429654532</c:v>
                </c:pt>
                <c:pt idx="1063">
                  <c:v>0.7762442429654532</c:v>
                </c:pt>
                <c:pt idx="1064">
                  <c:v>0.7155692800280693</c:v>
                </c:pt>
                <c:pt idx="1065">
                  <c:v>0.7426190067843741</c:v>
                </c:pt>
                <c:pt idx="1066">
                  <c:v>0.7470153274248956</c:v>
                </c:pt>
                <c:pt idx="1067">
                  <c:v>0.7787972135454961</c:v>
                </c:pt>
                <c:pt idx="1068">
                  <c:v>0.7979039146332718</c:v>
                </c:pt>
                <c:pt idx="1069">
                  <c:v>0.7979039146332718</c:v>
                </c:pt>
                <c:pt idx="1070">
                  <c:v>0.7979039146332718</c:v>
                </c:pt>
                <c:pt idx="1071">
                  <c:v>0.8012161788263665</c:v>
                </c:pt>
                <c:pt idx="1072">
                  <c:v>0.8345058885849643</c:v>
                </c:pt>
                <c:pt idx="1073">
                  <c:v>0.8349693936206031</c:v>
                </c:pt>
                <c:pt idx="1074">
                  <c:v>0.8717813442155546</c:v>
                </c:pt>
                <c:pt idx="1075">
                  <c:v>0.8883946018081543</c:v>
                </c:pt>
                <c:pt idx="1076">
                  <c:v>0.8883946018081543</c:v>
                </c:pt>
                <c:pt idx="1077">
                  <c:v>0.8883946018081543</c:v>
                </c:pt>
                <c:pt idx="1078">
                  <c:v>0.8900531392061826</c:v>
                </c:pt>
                <c:pt idx="1079">
                  <c:v>0.8528092146765927</c:v>
                </c:pt>
                <c:pt idx="1080">
                  <c:v>0.8648621234801535</c:v>
                </c:pt>
                <c:pt idx="1081">
                  <c:v>0.8689105596287097</c:v>
                </c:pt>
                <c:pt idx="1082">
                  <c:v>0.8995697361794264</c:v>
                </c:pt>
                <c:pt idx="1083">
                  <c:v>0.8995697361794264</c:v>
                </c:pt>
                <c:pt idx="1084">
                  <c:v>0.8995697361794264</c:v>
                </c:pt>
                <c:pt idx="1085">
                  <c:v>0.8928007801946019</c:v>
                </c:pt>
                <c:pt idx="1086">
                  <c:v>0.9151435189524013</c:v>
                </c:pt>
                <c:pt idx="1087">
                  <c:v>0.9025265083919658</c:v>
                </c:pt>
                <c:pt idx="1088">
                  <c:v>0.8793183369486659</c:v>
                </c:pt>
                <c:pt idx="1089">
                  <c:v>0.9047040302525917</c:v>
                </c:pt>
                <c:pt idx="1090">
                  <c:v>0.9047040302525917</c:v>
                </c:pt>
                <c:pt idx="1091">
                  <c:v>0.9047040302525917</c:v>
                </c:pt>
                <c:pt idx="1092">
                  <c:v>0.9058496053699157</c:v>
                </c:pt>
                <c:pt idx="1093">
                  <c:v>0.8755114385368135</c:v>
                </c:pt>
                <c:pt idx="1094">
                  <c:v>0.8677247889349979</c:v>
                </c:pt>
                <c:pt idx="1095">
                  <c:v>0.8718307646977417</c:v>
                </c:pt>
                <c:pt idx="1096">
                  <c:v>0.8425066878544223</c:v>
                </c:pt>
                <c:pt idx="1097">
                  <c:v>0.8425066878544223</c:v>
                </c:pt>
                <c:pt idx="1098">
                  <c:v>0.8425066878544223</c:v>
                </c:pt>
                <c:pt idx="1099">
                  <c:v>0.8623557034527782</c:v>
                </c:pt>
                <c:pt idx="1100">
                  <c:v>0.8633932027006539</c:v>
                </c:pt>
                <c:pt idx="1101">
                  <c:v>0.8897003343071115</c:v>
                </c:pt>
                <c:pt idx="1102">
                  <c:v>0.9058502166270879</c:v>
                </c:pt>
                <c:pt idx="1103">
                  <c:v>0.905824186146347</c:v>
                </c:pt>
                <c:pt idx="1104">
                  <c:v>0.905824186146347</c:v>
                </c:pt>
                <c:pt idx="1105">
                  <c:v>0.905824186146347</c:v>
                </c:pt>
                <c:pt idx="1106">
                  <c:v>0.9143004038228777</c:v>
                </c:pt>
                <c:pt idx="1107">
                  <c:v>0.9215645823129432</c:v>
                </c:pt>
                <c:pt idx="1108">
                  <c:v>0.9183798177428479</c:v>
                </c:pt>
                <c:pt idx="1109">
                  <c:v>0.9535925684120976</c:v>
                </c:pt>
                <c:pt idx="1110">
                  <c:v>0.9148826758298039</c:v>
                </c:pt>
                <c:pt idx="1111">
                  <c:v>0.9148826758298039</c:v>
                </c:pt>
                <c:pt idx="1112">
                  <c:v>0.9148826758298039</c:v>
                </c:pt>
                <c:pt idx="1113">
                  <c:v>0.9495827385666076</c:v>
                </c:pt>
                <c:pt idx="1114">
                  <c:v>0.9683850475375175</c:v>
                </c:pt>
                <c:pt idx="1115">
                  <c:v>0.9621009688336866</c:v>
                </c:pt>
                <c:pt idx="1116">
                  <c:v>0.9934488735646074</c:v>
                </c:pt>
                <c:pt idx="1117">
                  <c:v>0.9640303918943431</c:v>
                </c:pt>
                <c:pt idx="1118">
                  <c:v>0.9640303918943431</c:v>
                </c:pt>
                <c:pt idx="1119">
                  <c:v>0.9640303918943431</c:v>
                </c:pt>
                <c:pt idx="1120">
                  <c:v>0.9723433816208447</c:v>
                </c:pt>
                <c:pt idx="1121">
                  <c:v>0.9619058392076598</c:v>
                </c:pt>
                <c:pt idx="1122">
                  <c:v>0.9466051154190875</c:v>
                </c:pt>
                <c:pt idx="1123">
                  <c:v>0.9340692695682515</c:v>
                </c:pt>
                <c:pt idx="1124">
                  <c:v>0.9677914810994486</c:v>
                </c:pt>
                <c:pt idx="1125">
                  <c:v>0.9677914810994486</c:v>
                </c:pt>
                <c:pt idx="1126">
                  <c:v>0.9677914810994486</c:v>
                </c:pt>
                <c:pt idx="1127">
                  <c:v>0.9580868808215448</c:v>
                </c:pt>
                <c:pt idx="1128">
                  <c:v>0.9675757906518914</c:v>
                </c:pt>
                <c:pt idx="1129">
                  <c:v>0.9786267203637071</c:v>
                </c:pt>
                <c:pt idx="1130">
                  <c:v>0.9689088017451628</c:v>
                </c:pt>
                <c:pt idx="1131">
                  <c:v>0.9911347153344632</c:v>
                </c:pt>
                <c:pt idx="1132">
                  <c:v>0.9911347153344632</c:v>
                </c:pt>
                <c:pt idx="1133">
                  <c:v>0.9911347153344632</c:v>
                </c:pt>
                <c:pt idx="1134">
                  <c:v>0.9887293338999514</c:v>
                </c:pt>
                <c:pt idx="1135">
                  <c:v>0.9709190637804266</c:v>
                </c:pt>
                <c:pt idx="1136">
                  <c:v>0.9789236327943744</c:v>
                </c:pt>
                <c:pt idx="1137">
                  <c:v>0.9877142384047974</c:v>
                </c:pt>
                <c:pt idx="1138">
                  <c:v>1.0037289365795723</c:v>
                </c:pt>
                <c:pt idx="1139">
                  <c:v>1.0037289365795723</c:v>
                </c:pt>
                <c:pt idx="1140">
                  <c:v>1.0037289365795723</c:v>
                </c:pt>
                <c:pt idx="1141">
                  <c:v>0.9850642718027587</c:v>
                </c:pt>
                <c:pt idx="1142">
                  <c:v>0.9935631288730589</c:v>
                </c:pt>
                <c:pt idx="1143">
                  <c:v>0.9691282600530557</c:v>
                </c:pt>
                <c:pt idx="1144">
                  <c:v>0.9694020283103109</c:v>
                </c:pt>
                <c:pt idx="1145">
                  <c:v>0.9722148764718195</c:v>
                </c:pt>
                <c:pt idx="1146">
                  <c:v>0.9722148764718195</c:v>
                </c:pt>
                <c:pt idx="1147">
                  <c:v>0.9722148764718195</c:v>
                </c:pt>
                <c:pt idx="1148">
                  <c:v>0.9770440882494482</c:v>
                </c:pt>
                <c:pt idx="1149">
                  <c:v>0.9818150211223229</c:v>
                </c:pt>
                <c:pt idx="1150">
                  <c:v>0.9743902488307297</c:v>
                </c:pt>
                <c:pt idx="1151">
                  <c:v>0.9460188077592968</c:v>
                </c:pt>
                <c:pt idx="1152">
                  <c:v>0.9617427732283121</c:v>
                </c:pt>
                <c:pt idx="1153">
                  <c:v>0.9617427732283121</c:v>
                </c:pt>
                <c:pt idx="1154">
                  <c:v>0.9617427732283121</c:v>
                </c:pt>
                <c:pt idx="1155">
                  <c:v>0.9637547154114685</c:v>
                </c:pt>
                <c:pt idx="1156">
                  <c:v>0.9904467068580358</c:v>
                </c:pt>
                <c:pt idx="1157">
                  <c:v>1.024638702295785</c:v>
                </c:pt>
                <c:pt idx="1158">
                  <c:v>1.0563312420046365</c:v>
                </c:pt>
                <c:pt idx="1159">
                  <c:v>1.0503664637357915</c:v>
                </c:pt>
                <c:pt idx="1160">
                  <c:v>1.0503664637357915</c:v>
                </c:pt>
                <c:pt idx="1161">
                  <c:v>1.0503664637357915</c:v>
                </c:pt>
                <c:pt idx="1162">
                  <c:v>1.074538258618161</c:v>
                </c:pt>
                <c:pt idx="1163">
                  <c:v>1.0442211690611285</c:v>
                </c:pt>
                <c:pt idx="1164">
                  <c:v>1.044760171211772</c:v>
                </c:pt>
                <c:pt idx="1165">
                  <c:v>1.0452949268249694</c:v>
                </c:pt>
                <c:pt idx="1166">
                  <c:v>1.0297678632845426</c:v>
                </c:pt>
                <c:pt idx="1167">
                  <c:v>1.0297678632845426</c:v>
                </c:pt>
                <c:pt idx="1168">
                  <c:v>1.0297678632845426</c:v>
                </c:pt>
                <c:pt idx="1169">
                  <c:v>1.0485231605221719</c:v>
                </c:pt>
                <c:pt idx="1170">
                  <c:v>1.0477484262985857</c:v>
                </c:pt>
                <c:pt idx="1171">
                  <c:v>1.060981135752498</c:v>
                </c:pt>
                <c:pt idx="1172">
                  <c:v>1.0724240466842967</c:v>
                </c:pt>
                <c:pt idx="1173">
                  <c:v>1.0720735747933596</c:v>
                </c:pt>
                <c:pt idx="1174">
                  <c:v>1.0720735747933596</c:v>
                </c:pt>
                <c:pt idx="1175">
                  <c:v>1.0720735747933596</c:v>
                </c:pt>
                <c:pt idx="1176">
                  <c:v>1.0825007876397228</c:v>
                </c:pt>
                <c:pt idx="1177">
                  <c:v>1.0828431935162062</c:v>
                </c:pt>
                <c:pt idx="1178">
                  <c:v>1.0748056011593352</c:v>
                </c:pt>
                <c:pt idx="1179">
                  <c:v>1.0591682268165035</c:v>
                </c:pt>
                <c:pt idx="1180">
                  <c:v>1.0489762715982982</c:v>
                </c:pt>
                <c:pt idx="1181">
                  <c:v>1.0489762715982982</c:v>
                </c:pt>
                <c:pt idx="1182">
                  <c:v>1.0489762715982982</c:v>
                </c:pt>
                <c:pt idx="1183">
                  <c:v>1.0460582650658705</c:v>
                </c:pt>
                <c:pt idx="1184">
                  <c:v>1.0526900899426255</c:v>
                </c:pt>
                <c:pt idx="1185">
                  <c:v>1.07353028298026</c:v>
                </c:pt>
                <c:pt idx="1186">
                  <c:v>1.078581352708675</c:v>
                </c:pt>
                <c:pt idx="1187">
                  <c:v>1.0811027265696835</c:v>
                </c:pt>
                <c:pt idx="1188">
                  <c:v>1.0811027265696835</c:v>
                </c:pt>
                <c:pt idx="1189">
                  <c:v>1.0811027265696835</c:v>
                </c:pt>
                <c:pt idx="1190">
                  <c:v>1.0894356877496278</c:v>
                </c:pt>
                <c:pt idx="1191">
                  <c:v>1.0808609416592208</c:v>
                </c:pt>
                <c:pt idx="1192">
                  <c:v>1.112938615662304</c:v>
                </c:pt>
                <c:pt idx="1193">
                  <c:v>1.0962718171613952</c:v>
                </c:pt>
                <c:pt idx="1194">
                  <c:v>1.1051943741508423</c:v>
                </c:pt>
                <c:pt idx="1195">
                  <c:v>1.1051943741508423</c:v>
                </c:pt>
                <c:pt idx="1196">
                  <c:v>1.1051943741508423</c:v>
                </c:pt>
                <c:pt idx="1197">
                  <c:v>1.1062767132872082</c:v>
                </c:pt>
                <c:pt idx="1198">
                  <c:v>1.1062357470538395</c:v>
                </c:pt>
                <c:pt idx="1199">
                  <c:v>1.0449213393472658</c:v>
                </c:pt>
                <c:pt idx="1200">
                  <c:v>1.0415363100976607</c:v>
                </c:pt>
                <c:pt idx="1201">
                  <c:v>1.0578425477374531</c:v>
                </c:pt>
                <c:pt idx="1202">
                  <c:v>1.0578425477374531</c:v>
                </c:pt>
                <c:pt idx="1203">
                  <c:v>1.0578425477374531</c:v>
                </c:pt>
                <c:pt idx="1204">
                  <c:v>1.0618793822375157</c:v>
                </c:pt>
                <c:pt idx="1205">
                  <c:v>1.090007999825363</c:v>
                </c:pt>
                <c:pt idx="1206">
                  <c:v>1.0863686591803852</c:v>
                </c:pt>
                <c:pt idx="1207">
                  <c:v>1.088109509866372</c:v>
                </c:pt>
                <c:pt idx="1208">
                  <c:v>1.0701881237506865</c:v>
                </c:pt>
                <c:pt idx="1209">
                  <c:v>1.0701881237506865</c:v>
                </c:pt>
                <c:pt idx="1210">
                  <c:v>1.0701881237506865</c:v>
                </c:pt>
                <c:pt idx="1211">
                  <c:v>1.0584203833549584</c:v>
                </c:pt>
                <c:pt idx="1212">
                  <c:v>1.0583369670892595</c:v>
                </c:pt>
                <c:pt idx="1213">
                  <c:v>1.0583369670892595</c:v>
                </c:pt>
                <c:pt idx="1214">
                  <c:v>1.0543078166041076</c:v>
                </c:pt>
                <c:pt idx="1215">
                  <c:v>1.0752455603020645</c:v>
                </c:pt>
                <c:pt idx="1216">
                  <c:v>1.0752455603020645</c:v>
                </c:pt>
                <c:pt idx="1217">
                  <c:v>1.0752455603020645</c:v>
                </c:pt>
                <c:pt idx="1218">
                  <c:v>1.0879055746619755</c:v>
                </c:pt>
                <c:pt idx="1219">
                  <c:v>1.0768748729164295</c:v>
                </c:pt>
                <c:pt idx="1220">
                  <c:v>1.0890500057442716</c:v>
                </c:pt>
                <c:pt idx="1221">
                  <c:v>1.0828776186026792</c:v>
                </c:pt>
                <c:pt idx="1222">
                  <c:v>1.034182882932964</c:v>
                </c:pt>
                <c:pt idx="1223">
                  <c:v>1.034182882932964</c:v>
                </c:pt>
                <c:pt idx="1224">
                  <c:v>1.034182882932964</c:v>
                </c:pt>
                <c:pt idx="1225">
                  <c:v>1.0318136181537096</c:v>
                </c:pt>
                <c:pt idx="1226">
                  <c:v>1.0220522412761541</c:v>
                </c:pt>
                <c:pt idx="1227">
                  <c:v>1.0716236375854198</c:v>
                </c:pt>
                <c:pt idx="1228">
                  <c:v>1.072747613496702</c:v>
                </c:pt>
                <c:pt idx="1229">
                  <c:v>1.0920834093820933</c:v>
                </c:pt>
                <c:pt idx="1230">
                  <c:v>1.0920834093820933</c:v>
                </c:pt>
                <c:pt idx="1231">
                  <c:v>1.0920834093820933</c:v>
                </c:pt>
                <c:pt idx="1232">
                  <c:v>1.0907107344773093</c:v>
                </c:pt>
                <c:pt idx="1233">
                  <c:v>1.1194353732417905</c:v>
                </c:pt>
                <c:pt idx="1234">
                  <c:v>1.126065694601977</c:v>
                </c:pt>
                <c:pt idx="1235">
                  <c:v>1.1420321800039517</c:v>
                </c:pt>
                <c:pt idx="1236">
                  <c:v>1.1388148504041737</c:v>
                </c:pt>
                <c:pt idx="1237">
                  <c:v>1.1388148504041737</c:v>
                </c:pt>
                <c:pt idx="1238">
                  <c:v>1.1388148504041737</c:v>
                </c:pt>
                <c:pt idx="1239">
                  <c:v>1.1043904699667575</c:v>
                </c:pt>
                <c:pt idx="1240">
                  <c:v>1.130004520021291</c:v>
                </c:pt>
                <c:pt idx="1241">
                  <c:v>1.125363021438078</c:v>
                </c:pt>
                <c:pt idx="1242">
                  <c:v>1.1451581795680092</c:v>
                </c:pt>
                <c:pt idx="1243">
                  <c:v>1.1307208717660684</c:v>
                </c:pt>
                <c:pt idx="1244">
                  <c:v>1.1307208717660684</c:v>
                </c:pt>
                <c:pt idx="1245">
                  <c:v>1.1307208717660684</c:v>
                </c:pt>
                <c:pt idx="1246">
                  <c:v>1.1499662737882583</c:v>
                </c:pt>
                <c:pt idx="1247">
                  <c:v>1.1238112639466449</c:v>
                </c:pt>
                <c:pt idx="1248">
                  <c:v>1.157546732107078</c:v>
                </c:pt>
                <c:pt idx="1249">
                  <c:v>1.1581623017197007</c:v>
                </c:pt>
                <c:pt idx="1250">
                  <c:v>1.1445600232913038</c:v>
                </c:pt>
                <c:pt idx="1251">
                  <c:v>1.1445600232913038</c:v>
                </c:pt>
                <c:pt idx="1252">
                  <c:v>1.1445600232913038</c:v>
                </c:pt>
                <c:pt idx="1253">
                  <c:v>1.1633639588014875</c:v>
                </c:pt>
                <c:pt idx="1254">
                  <c:v>1.1557408156994793</c:v>
                </c:pt>
                <c:pt idx="1255">
                  <c:v>1.1514513881257091</c:v>
                </c:pt>
                <c:pt idx="1256">
                  <c:v>1.1774060957772208</c:v>
                </c:pt>
                <c:pt idx="1257">
                  <c:v>1.1801823321525169</c:v>
                </c:pt>
                <c:pt idx="1258">
                  <c:v>1.1801823321525169</c:v>
                </c:pt>
                <c:pt idx="1259">
                  <c:v>1.1801823321525169</c:v>
                </c:pt>
                <c:pt idx="1260">
                  <c:v>1.185920320311861</c:v>
                </c:pt>
                <c:pt idx="1261">
                  <c:v>1.1974634917428313</c:v>
                </c:pt>
                <c:pt idx="1262">
                  <c:v>1.1885057526354594</c:v>
                </c:pt>
                <c:pt idx="1263">
                  <c:v>1.1985772555109233</c:v>
                </c:pt>
                <c:pt idx="1264">
                  <c:v>1.1651987136588637</c:v>
                </c:pt>
                <c:pt idx="1265">
                  <c:v>1.1651987136588637</c:v>
                </c:pt>
                <c:pt idx="1266">
                  <c:v>1.1651987136588637</c:v>
                </c:pt>
                <c:pt idx="1267">
                  <c:v>1.1550725332080232</c:v>
                </c:pt>
                <c:pt idx="1268">
                  <c:v>1.1542335434644224</c:v>
                </c:pt>
                <c:pt idx="1269">
                  <c:v>1.1571760338428136</c:v>
                </c:pt>
                <c:pt idx="1270">
                  <c:v>1.134256100362843</c:v>
                </c:pt>
                <c:pt idx="1271">
                  <c:v>1.1611569036390135</c:v>
                </c:pt>
                <c:pt idx="1272">
                  <c:v>1.1611569036390135</c:v>
                </c:pt>
                <c:pt idx="1273">
                  <c:v>1.1611569036390135</c:v>
                </c:pt>
                <c:pt idx="1274">
                  <c:v>1.1466121679197836</c:v>
                </c:pt>
                <c:pt idx="1275">
                  <c:v>1.137410703922486</c:v>
                </c:pt>
                <c:pt idx="1276">
                  <c:v>1.1707167553831237</c:v>
                </c:pt>
                <c:pt idx="1277">
                  <c:v>1.139270517660261</c:v>
                </c:pt>
                <c:pt idx="1278">
                  <c:v>1.1683502350518222</c:v>
                </c:pt>
                <c:pt idx="1279">
                  <c:v>1.1683502350518222</c:v>
                </c:pt>
                <c:pt idx="1280">
                  <c:v>1.1683502350518222</c:v>
                </c:pt>
                <c:pt idx="1281">
                  <c:v>1.0890458707595605</c:v>
                </c:pt>
                <c:pt idx="1282">
                  <c:v>1.0837892333327321</c:v>
                </c:pt>
                <c:pt idx="1283">
                  <c:v>1.0966410463943017</c:v>
                </c:pt>
                <c:pt idx="1284">
                  <c:v>1.070492110144992</c:v>
                </c:pt>
                <c:pt idx="1285">
                  <c:v>1.1138532232185079</c:v>
                </c:pt>
                <c:pt idx="1286">
                  <c:v>1.1138532232185079</c:v>
                </c:pt>
                <c:pt idx="1287">
                  <c:v>1.1138532232185079</c:v>
                </c:pt>
                <c:pt idx="1288">
                  <c:v>1.1323495370958927</c:v>
                </c:pt>
                <c:pt idx="1289">
                  <c:v>1.1270847580162884</c:v>
                </c:pt>
                <c:pt idx="1290">
                  <c:v>1.1465491035992899</c:v>
                </c:pt>
                <c:pt idx="1291">
                  <c:v>1.1405470844599943</c:v>
                </c:pt>
                <c:pt idx="1292">
                  <c:v>1.1391964789722215</c:v>
                </c:pt>
                <c:pt idx="1293">
                  <c:v>1.1391964789722215</c:v>
                </c:pt>
                <c:pt idx="1294">
                  <c:v>1.1391964789722215</c:v>
                </c:pt>
                <c:pt idx="1295">
                  <c:v>1.1709072574760087</c:v>
                </c:pt>
                <c:pt idx="1296">
                  <c:v>1.1755137128856021</c:v>
                </c:pt>
                <c:pt idx="1297">
                  <c:v>1.1576128749498227</c:v>
                </c:pt>
                <c:pt idx="1298">
                  <c:v>1.1436238359618236</c:v>
                </c:pt>
                <c:pt idx="1299">
                  <c:v>1.102133548107619</c:v>
                </c:pt>
                <c:pt idx="1300">
                  <c:v>1.102133548107619</c:v>
                </c:pt>
                <c:pt idx="1301">
                  <c:v>1.102133548107619</c:v>
                </c:pt>
                <c:pt idx="1302">
                  <c:v>1.0640074088564395</c:v>
                </c:pt>
                <c:pt idx="1303">
                  <c:v>1.0713141670018618</c:v>
                </c:pt>
                <c:pt idx="1304">
                  <c:v>1.0756731607866192</c:v>
                </c:pt>
                <c:pt idx="1305">
                  <c:v>0.9804094766586329</c:v>
                </c:pt>
                <c:pt idx="1306">
                  <c:v>0.8531649786415152</c:v>
                </c:pt>
                <c:pt idx="1307">
                  <c:v>0.8531649786415152</c:v>
                </c:pt>
                <c:pt idx="1308">
                  <c:v>0.8531649786415152</c:v>
                </c:pt>
                <c:pt idx="1309">
                  <c:v>0.8432611187066845</c:v>
                </c:pt>
                <c:pt idx="1310">
                  <c:v>0.8249713588009671</c:v>
                </c:pt>
                <c:pt idx="1311">
                  <c:v>0.975262589016819</c:v>
                </c:pt>
                <c:pt idx="1312">
                  <c:v>0.9303310830769536</c:v>
                </c:pt>
                <c:pt idx="1313">
                  <c:v>0.9726576505928504</c:v>
                </c:pt>
                <c:pt idx="1314">
                  <c:v>0.9726576505928504</c:v>
                </c:pt>
                <c:pt idx="1315">
                  <c:v>0.9726576505928504</c:v>
                </c:pt>
                <c:pt idx="1316">
                  <c:v>1.0007898641747048</c:v>
                </c:pt>
                <c:pt idx="1317">
                  <c:v>1.0098087335073718</c:v>
                </c:pt>
                <c:pt idx="1318">
                  <c:v>0.9814902161361494</c:v>
                </c:pt>
                <c:pt idx="1319">
                  <c:v>0.9903628246618259</c:v>
                </c:pt>
                <c:pt idx="1320">
                  <c:v>0.9903628246618259</c:v>
                </c:pt>
                <c:pt idx="1321">
                  <c:v>0.9903628246618259</c:v>
                </c:pt>
                <c:pt idx="1322">
                  <c:v>0.9903628246618259</c:v>
                </c:pt>
                <c:pt idx="1323">
                  <c:v>0.9582026200564369</c:v>
                </c:pt>
                <c:pt idx="1324">
                  <c:v>1.0077268156259143</c:v>
                </c:pt>
                <c:pt idx="1325">
                  <c:v>1.0332979974432925</c:v>
                </c:pt>
                <c:pt idx="1326">
                  <c:v>1.0630598735394803</c:v>
                </c:pt>
                <c:pt idx="1327">
                  <c:v>1.0554745977411821</c:v>
                </c:pt>
                <c:pt idx="1328">
                  <c:v>1.0554745977411821</c:v>
                </c:pt>
                <c:pt idx="1329">
                  <c:v>1.0554745977411821</c:v>
                </c:pt>
                <c:pt idx="1330">
                  <c:v>1.0460435289827115</c:v>
                </c:pt>
                <c:pt idx="1331">
                  <c:v>1.0570536837849676</c:v>
                </c:pt>
                <c:pt idx="1332">
                  <c:v>1.0596018117574446</c:v>
                </c:pt>
                <c:pt idx="1333">
                  <c:v>1.0561572875598362</c:v>
                </c:pt>
                <c:pt idx="1334">
                  <c:v>1.0979084267387589</c:v>
                </c:pt>
                <c:pt idx="1335">
                  <c:v>1.0979084267387589</c:v>
                </c:pt>
                <c:pt idx="1336">
                  <c:v>1.0979084267387589</c:v>
                </c:pt>
                <c:pt idx="1337">
                  <c:v>1.0869940864567305</c:v>
                </c:pt>
                <c:pt idx="1338">
                  <c:v>1.0546056679656575</c:v>
                </c:pt>
                <c:pt idx="1339">
                  <c:v>1.0168577860297314</c:v>
                </c:pt>
                <c:pt idx="1340">
                  <c:v>1.0012699378774168</c:v>
                </c:pt>
                <c:pt idx="1341">
                  <c:v>0.9868705761738255</c:v>
                </c:pt>
                <c:pt idx="1342">
                  <c:v>0.9868705761738255</c:v>
                </c:pt>
                <c:pt idx="1343">
                  <c:v>0.9868705761738255</c:v>
                </c:pt>
                <c:pt idx="1344">
                  <c:v>1.0204465771269406</c:v>
                </c:pt>
                <c:pt idx="1345">
                  <c:v>1.0292041372362868</c:v>
                </c:pt>
                <c:pt idx="1346">
                  <c:v>1.0471884001937006</c:v>
                </c:pt>
                <c:pt idx="1347">
                  <c:v>1.071496345936517</c:v>
                </c:pt>
                <c:pt idx="1348">
                  <c:v>1.086539668649166</c:v>
                </c:pt>
                <c:pt idx="1349">
                  <c:v>1.086539668649166</c:v>
                </c:pt>
                <c:pt idx="1350">
                  <c:v>1.086539668649166</c:v>
                </c:pt>
                <c:pt idx="1351">
                  <c:v>1.1079697765805916</c:v>
                </c:pt>
                <c:pt idx="1352">
                  <c:v>1.110865123905294</c:v>
                </c:pt>
                <c:pt idx="1353">
                  <c:v>1.0934898890016944</c:v>
                </c:pt>
                <c:pt idx="1354">
                  <c:v>1.0998878943313621</c:v>
                </c:pt>
                <c:pt idx="1355">
                  <c:v>1.097357800035354</c:v>
                </c:pt>
                <c:pt idx="1356">
                  <c:v>1.097357800035354</c:v>
                </c:pt>
                <c:pt idx="1357">
                  <c:v>1.097357800035354</c:v>
                </c:pt>
                <c:pt idx="1358">
                  <c:v>1.1020105973239191</c:v>
                </c:pt>
                <c:pt idx="1359">
                  <c:v>1.1624975376085764</c:v>
                </c:pt>
                <c:pt idx="1360">
                  <c:v>1.099968690174041</c:v>
                </c:pt>
                <c:pt idx="1361">
                  <c:v>1.0615990012364636</c:v>
                </c:pt>
                <c:pt idx="1362">
                  <c:v>1.065653173666298</c:v>
                </c:pt>
                <c:pt idx="1363">
                  <c:v>1.065653173666298</c:v>
                </c:pt>
                <c:pt idx="1364">
                  <c:v>1.065653173666298</c:v>
                </c:pt>
                <c:pt idx="1365">
                  <c:v>1.0830473931816544</c:v>
                </c:pt>
                <c:pt idx="1366">
                  <c:v>1.1002032919892129</c:v>
                </c:pt>
                <c:pt idx="1367">
                  <c:v>1.1200193392977122</c:v>
                </c:pt>
                <c:pt idx="1368">
                  <c:v>1.0276923245968206</c:v>
                </c:pt>
                <c:pt idx="1369">
                  <c:v>1.064183103184853</c:v>
                </c:pt>
                <c:pt idx="1370">
                  <c:v>1.064183103184853</c:v>
                </c:pt>
                <c:pt idx="1371">
                  <c:v>1.064183103184853</c:v>
                </c:pt>
                <c:pt idx="1372">
                  <c:v>0.9667583193764513</c:v>
                </c:pt>
                <c:pt idx="1373">
                  <c:v>0.9808001736679186</c:v>
                </c:pt>
                <c:pt idx="1374">
                  <c:v>0.993336371309042</c:v>
                </c:pt>
                <c:pt idx="1375">
                  <c:v>0.9786059006679202</c:v>
                </c:pt>
                <c:pt idx="1376">
                  <c:v>0.9389887212990635</c:v>
                </c:pt>
                <c:pt idx="1377">
                  <c:v>0.9389887212990635</c:v>
                </c:pt>
                <c:pt idx="1378">
                  <c:v>0.9389887212990635</c:v>
                </c:pt>
                <c:pt idx="1379">
                  <c:v>0.9160546176791118</c:v>
                </c:pt>
                <c:pt idx="1380">
                  <c:v>0.9100517799450367</c:v>
                </c:pt>
                <c:pt idx="1381">
                  <c:v>0.9183168568722766</c:v>
                </c:pt>
                <c:pt idx="1382">
                  <c:v>0.8890157816326958</c:v>
                </c:pt>
                <c:pt idx="1383">
                  <c:v>0.8365892115113422</c:v>
                </c:pt>
                <c:pt idx="1384">
                  <c:v>0.8365892115113422</c:v>
                </c:pt>
                <c:pt idx="1385">
                  <c:v>0.8365892115113422</c:v>
                </c:pt>
                <c:pt idx="1386">
                  <c:v>0.8304267000311847</c:v>
                </c:pt>
                <c:pt idx="1387">
                  <c:v>0.8625611589903137</c:v>
                </c:pt>
                <c:pt idx="1388">
                  <c:v>0.8755240496520234</c:v>
                </c:pt>
                <c:pt idx="1389">
                  <c:v>0.8947990145569642</c:v>
                </c:pt>
                <c:pt idx="1390">
                  <c:v>0.9115881206926577</c:v>
                </c:pt>
                <c:pt idx="1391">
                  <c:v>0.9115881206926577</c:v>
                </c:pt>
                <c:pt idx="1392">
                  <c:v>0.9115881206926577</c:v>
                </c:pt>
                <c:pt idx="1393">
                  <c:v>0.9295285907347759</c:v>
                </c:pt>
                <c:pt idx="1394">
                  <c:v>0.9462832642264087</c:v>
                </c:pt>
                <c:pt idx="1395">
                  <c:v>0.9542738539679385</c:v>
                </c:pt>
                <c:pt idx="1396">
                  <c:v>0.9724840046199428</c:v>
                </c:pt>
                <c:pt idx="1397">
                  <c:v>0.9862055887117778</c:v>
                </c:pt>
                <c:pt idx="1398">
                  <c:v>0.9862055887117778</c:v>
                </c:pt>
                <c:pt idx="1399">
                  <c:v>0.9862055887117778</c:v>
                </c:pt>
                <c:pt idx="1400">
                  <c:v>0.9767026702296839</c:v>
                </c:pt>
                <c:pt idx="1401">
                  <c:v>0.9804032052276936</c:v>
                </c:pt>
                <c:pt idx="1402">
                  <c:v>0.9896686856316614</c:v>
                </c:pt>
                <c:pt idx="1403">
                  <c:v>1.0031861585776598</c:v>
                </c:pt>
                <c:pt idx="1404">
                  <c:v>0.9206480649986057</c:v>
                </c:pt>
                <c:pt idx="1405">
                  <c:v>0.9206480649986057</c:v>
                </c:pt>
                <c:pt idx="1406">
                  <c:v>0.9206480649986057</c:v>
                </c:pt>
                <c:pt idx="1407">
                  <c:v>0.898973324136384</c:v>
                </c:pt>
                <c:pt idx="1408">
                  <c:v>0.8956647129899205</c:v>
                </c:pt>
                <c:pt idx="1409">
                  <c:v>0.8734282100912354</c:v>
                </c:pt>
                <c:pt idx="1410">
                  <c:v>0.8780605189391286</c:v>
                </c:pt>
                <c:pt idx="1411">
                  <c:v>0.9210513952324926</c:v>
                </c:pt>
                <c:pt idx="1412">
                  <c:v>0.9210513952324926</c:v>
                </c:pt>
                <c:pt idx="1413">
                  <c:v>0.9210513952324926</c:v>
                </c:pt>
                <c:pt idx="1414">
                  <c:v>0.9018388861636799</c:v>
                </c:pt>
                <c:pt idx="1415">
                  <c:v>0.8989101709005283</c:v>
                </c:pt>
                <c:pt idx="1416">
                  <c:v>0.9344499185556301</c:v>
                </c:pt>
                <c:pt idx="1417">
                  <c:v>0.9388035484184809</c:v>
                </c:pt>
                <c:pt idx="1418">
                  <c:v>0.9509018747233844</c:v>
                </c:pt>
                <c:pt idx="1419">
                  <c:v>0.9509018747233844</c:v>
                </c:pt>
                <c:pt idx="1420">
                  <c:v>0.9509018747233844</c:v>
                </c:pt>
                <c:pt idx="1421">
                  <c:v>0.9387624964010854</c:v>
                </c:pt>
                <c:pt idx="1422">
                  <c:v>0.9497837168369656</c:v>
                </c:pt>
                <c:pt idx="1423">
                  <c:v>0.904791588985727</c:v>
                </c:pt>
                <c:pt idx="1424">
                  <c:v>0.8942355888518612</c:v>
                </c:pt>
                <c:pt idx="1425">
                  <c:v>0.8687591207816874</c:v>
                </c:pt>
                <c:pt idx="1426">
                  <c:v>0.8687591207816874</c:v>
                </c:pt>
                <c:pt idx="1427">
                  <c:v>0.8687591207816874</c:v>
                </c:pt>
                <c:pt idx="1428">
                  <c:v>0.8591613935629578</c:v>
                </c:pt>
                <c:pt idx="1429">
                  <c:v>0.8854188367613951</c:v>
                </c:pt>
                <c:pt idx="1430">
                  <c:v>0.9102634862259802</c:v>
                </c:pt>
                <c:pt idx="1431">
                  <c:v>0.9141598950356655</c:v>
                </c:pt>
                <c:pt idx="1432">
                  <c:v>0.9407570484161301</c:v>
                </c:pt>
                <c:pt idx="1433">
                  <c:v>0.9407570484161301</c:v>
                </c:pt>
                <c:pt idx="1434">
                  <c:v>0.9407570484161301</c:v>
                </c:pt>
                <c:pt idx="1435">
                  <c:v>0.9303764643581098</c:v>
                </c:pt>
                <c:pt idx="1436">
                  <c:v>0.96118470016752</c:v>
                </c:pt>
                <c:pt idx="1437">
                  <c:v>0.9548212620833156</c:v>
                </c:pt>
                <c:pt idx="1438">
                  <c:v>0.948360155225487</c:v>
                </c:pt>
                <c:pt idx="1439">
                  <c:v>0.9483195361248817</c:v>
                </c:pt>
                <c:pt idx="1440">
                  <c:v>0.9483195361248817</c:v>
                </c:pt>
                <c:pt idx="1441">
                  <c:v>0.9483195361248817</c:v>
                </c:pt>
                <c:pt idx="1442">
                  <c:v>0.9577991019152963</c:v>
                </c:pt>
                <c:pt idx="1443">
                  <c:v>0.9585357214240964</c:v>
                </c:pt>
                <c:pt idx="1444">
                  <c:v>0.9568854335398198</c:v>
                </c:pt>
                <c:pt idx="1445">
                  <c:v>0.9523753966895747</c:v>
                </c:pt>
                <c:pt idx="1446">
                  <c:v>0.9677061991337563</c:v>
                </c:pt>
                <c:pt idx="1447">
                  <c:v>0.9677061991337563</c:v>
                </c:pt>
                <c:pt idx="1448">
                  <c:v>0.9677061991337563</c:v>
                </c:pt>
                <c:pt idx="1449">
                  <c:v>0.9341193473832903</c:v>
                </c:pt>
                <c:pt idx="1450">
                  <c:v>0.9729490929159101</c:v>
                </c:pt>
                <c:pt idx="1451">
                  <c:v>0.9763818264960098</c:v>
                </c:pt>
                <c:pt idx="1452">
                  <c:v>0.9889780831364599</c:v>
                </c:pt>
                <c:pt idx="1453">
                  <c:v>0.9817805669447255</c:v>
                </c:pt>
                <c:pt idx="1454">
                  <c:v>0.9817805669447255</c:v>
                </c:pt>
                <c:pt idx="1455">
                  <c:v>0.9817805669447255</c:v>
                </c:pt>
                <c:pt idx="1456">
                  <c:v>0.9926928327369584</c:v>
                </c:pt>
                <c:pt idx="1457">
                  <c:v>0.9844021664548597</c:v>
                </c:pt>
                <c:pt idx="1458">
                  <c:v>0.9993108821643908</c:v>
                </c:pt>
                <c:pt idx="1459">
                  <c:v>1.0201499064976138</c:v>
                </c:pt>
                <c:pt idx="1460">
                  <c:v>1.0239015328445782</c:v>
                </c:pt>
                <c:pt idx="1461">
                  <c:v>1.0239015328445782</c:v>
                </c:pt>
                <c:pt idx="1462">
                  <c:v>1.0239015328445782</c:v>
                </c:pt>
                <c:pt idx="1463">
                  <c:v>1.034569881937875</c:v>
                </c:pt>
                <c:pt idx="1464">
                  <c:v>1.0451028790444314</c:v>
                </c:pt>
                <c:pt idx="1465">
                  <c:v>1.05620443353149</c:v>
                </c:pt>
                <c:pt idx="1466">
                  <c:v>1.0933251756286309</c:v>
                </c:pt>
                <c:pt idx="1467">
                  <c:v>1.0594886095087284</c:v>
                </c:pt>
                <c:pt idx="1468">
                  <c:v>1.0594886095087284</c:v>
                </c:pt>
                <c:pt idx="1469">
                  <c:v>1.0594886095087284</c:v>
                </c:pt>
                <c:pt idx="1470">
                  <c:v>1.0658151413225907</c:v>
                </c:pt>
                <c:pt idx="1471">
                  <c:v>1.0534807918004128</c:v>
                </c:pt>
                <c:pt idx="1472">
                  <c:v>1.031480583007788</c:v>
                </c:pt>
                <c:pt idx="1473">
                  <c:v>1.0430914961883668</c:v>
                </c:pt>
                <c:pt idx="1474">
                  <c:v>1.0599298773134422</c:v>
                </c:pt>
                <c:pt idx="1475">
                  <c:v>1.0599298773134422</c:v>
                </c:pt>
                <c:pt idx="1476">
                  <c:v>1.0599298773134422</c:v>
                </c:pt>
                <c:pt idx="1477">
                  <c:v>1.0781653868654928</c:v>
                </c:pt>
                <c:pt idx="1478">
                  <c:v>1.078445460192886</c:v>
                </c:pt>
                <c:pt idx="1479">
                  <c:v>1.053483881433542</c:v>
                </c:pt>
                <c:pt idx="1480">
                  <c:v>1.0514757839007842</c:v>
                </c:pt>
                <c:pt idx="1481">
                  <c:v>1.0674936859410082</c:v>
                </c:pt>
                <c:pt idx="1482">
                  <c:v>1.0674936859410082</c:v>
                </c:pt>
                <c:pt idx="1483">
                  <c:v>1.0674936859410082</c:v>
                </c:pt>
                <c:pt idx="1484">
                  <c:v>1.0620667083279023</c:v>
                </c:pt>
                <c:pt idx="1485">
                  <c:v>1.0853532112578623</c:v>
                </c:pt>
              </c:numCache>
            </c:numRef>
          </c:val>
          <c:smooth val="0"/>
          <c:extLst>
            <c:ext xmlns:c16="http://schemas.microsoft.com/office/drawing/2014/chart" uri="{C3380CC4-5D6E-409C-BE32-E72D297353CC}">
              <c16:uniqueId val="{00000003-1D55-4091-B462-1B341D70D85C}"/>
            </c:ext>
          </c:extLst>
        </c:ser>
        <c:dLbls>
          <c:showLegendKey val="0"/>
          <c:showVal val="0"/>
          <c:showCatName val="0"/>
          <c:showSerName val="0"/>
          <c:showPercent val="0"/>
          <c:showBubbleSize val="0"/>
        </c:dLbls>
        <c:smooth val="0"/>
        <c:axId val="155939519"/>
        <c:axId val="155939999"/>
      </c:lineChart>
      <c:dateAx>
        <c:axId val="155939519"/>
        <c:scaling>
          <c:orientation val="minMax"/>
        </c:scaling>
        <c:delete val="0"/>
        <c:axPos val="b"/>
        <c:numFmt formatCode="[$-409]mmm/yy;@" sourceLinked="0"/>
        <c:majorTickMark val="none"/>
        <c:minorTickMark val="none"/>
        <c:tickLblPos val="low"/>
        <c:spPr>
          <a:noFill/>
          <a:ln w="9525" cap="flat" cmpd="sng" algn="ctr">
            <a:solidFill>
              <a:srgbClr val="979797"/>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999"/>
        <c:crosses val="autoZero"/>
        <c:auto val="1"/>
        <c:lblOffset val="100"/>
        <c:baseTimeUnit val="days"/>
      </c:dateAx>
      <c:valAx>
        <c:axId val="155939999"/>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 sourceLinked="0"/>
        <c:majorTickMark val="none"/>
        <c:minorTickMark val="none"/>
        <c:tickLblPos val="nextTo"/>
        <c:spPr>
          <a:noFill/>
          <a:ln w="9525">
            <a:no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519"/>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800">
          <a:solidFill>
            <a:schemeClr val="bg1"/>
          </a:solidFill>
          <a:latin typeface="Bierstadt" panose="020B0004020202020204" pitchFamily="34" charset="0"/>
          <a:ea typeface="Bierstadt"/>
          <a:cs typeface="Bierstadt"/>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4582208615920292"/>
          <c:w val="0.45478027332406218"/>
          <c:h val="0.5971060515317913"/>
        </c:manualLayout>
      </c:layout>
      <c:doughnutChart>
        <c:varyColors val="0"/>
        <c:ser>
          <c:idx val="0"/>
          <c:order val="0"/>
          <c:tx>
            <c:strRef>
              <c:f>Sheet1!$B$1</c:f>
              <c:strCache>
                <c:ptCount val="1"/>
                <c:pt idx="0">
                  <c:v>Weight</c:v>
                </c:pt>
              </c:strCache>
            </c:strRef>
          </c:tx>
          <c:spPr>
            <a:solidFill>
              <a:schemeClr val="bg1">
                <a:alpha val="70000"/>
              </a:schemeClr>
            </a:solidFill>
            <a:ln w="19050">
              <a:solidFill>
                <a:schemeClr val="lt1"/>
              </a:solidFill>
            </a:ln>
            <a:effectLst/>
          </c:spPr>
          <c:dPt>
            <c:idx val="0"/>
            <c:bubble3D val="0"/>
            <c:spPr>
              <a:solidFill>
                <a:schemeClr val="bg1">
                  <a:lumMod val="95000"/>
                  <a:alpha val="70000"/>
                </a:schemeClr>
              </a:solidFill>
              <a:ln w="19050">
                <a:solidFill>
                  <a:schemeClr val="lt1"/>
                </a:solidFill>
              </a:ln>
              <a:effectLst/>
            </c:spPr>
            <c:extLst>
              <c:ext xmlns:c16="http://schemas.microsoft.com/office/drawing/2014/chart" uri="{C3380CC4-5D6E-409C-BE32-E72D297353CC}">
                <c16:uniqueId val="{00000001-0B11-408B-B9A7-2C2984287608}"/>
              </c:ext>
            </c:extLst>
          </c:dPt>
          <c:dPt>
            <c:idx val="1"/>
            <c:bubble3D val="0"/>
            <c:spPr>
              <a:solidFill>
                <a:schemeClr val="bg1">
                  <a:alpha val="70000"/>
                </a:schemeClr>
              </a:solidFill>
              <a:ln w="19050">
                <a:solidFill>
                  <a:schemeClr val="lt1"/>
                </a:solidFill>
              </a:ln>
              <a:effectLst/>
            </c:spPr>
            <c:extLst>
              <c:ext xmlns:c16="http://schemas.microsoft.com/office/drawing/2014/chart" uri="{C3380CC4-5D6E-409C-BE32-E72D297353CC}">
                <c16:uniqueId val="{00000003-0B11-408B-B9A7-2C2984287608}"/>
              </c:ext>
            </c:extLst>
          </c:dPt>
          <c:dPt>
            <c:idx val="2"/>
            <c:bubble3D val="0"/>
            <c:spPr>
              <a:solidFill>
                <a:schemeClr val="accent6">
                  <a:lumMod val="50000"/>
                  <a:alpha val="50000"/>
                </a:schemeClr>
              </a:solidFill>
              <a:ln w="19050">
                <a:solidFill>
                  <a:schemeClr val="lt1"/>
                </a:solidFill>
              </a:ln>
              <a:effectLst/>
            </c:spPr>
            <c:extLst>
              <c:ext xmlns:c16="http://schemas.microsoft.com/office/drawing/2014/chart" uri="{C3380CC4-5D6E-409C-BE32-E72D297353CC}">
                <c16:uniqueId val="{00000005-0B11-408B-B9A7-2C2984287608}"/>
              </c:ext>
            </c:extLst>
          </c:dPt>
          <c:dPt>
            <c:idx val="3"/>
            <c:bubble3D val="0"/>
            <c:spPr>
              <a:solidFill>
                <a:schemeClr val="accent6">
                  <a:alpha val="70000"/>
                </a:schemeClr>
              </a:solidFill>
              <a:ln w="19050">
                <a:solidFill>
                  <a:schemeClr val="lt1"/>
                </a:solidFill>
              </a:ln>
              <a:effectLst/>
            </c:spPr>
            <c:extLst>
              <c:ext xmlns:c16="http://schemas.microsoft.com/office/drawing/2014/chart" uri="{C3380CC4-5D6E-409C-BE32-E72D297353CC}">
                <c16:uniqueId val="{00000007-0B11-408B-B9A7-2C2984287608}"/>
              </c:ext>
            </c:extLst>
          </c:dPt>
          <c:dPt>
            <c:idx val="4"/>
            <c:bubble3D val="0"/>
            <c:spPr>
              <a:solidFill>
                <a:schemeClr val="accent6">
                  <a:lumMod val="60000"/>
                  <a:lumOff val="40000"/>
                  <a:alpha val="70000"/>
                </a:schemeClr>
              </a:solidFill>
              <a:ln w="19050">
                <a:solidFill>
                  <a:schemeClr val="lt1"/>
                </a:solidFill>
              </a:ln>
              <a:effectLst/>
            </c:spPr>
            <c:extLst>
              <c:ext xmlns:c16="http://schemas.microsoft.com/office/drawing/2014/chart" uri="{C3380CC4-5D6E-409C-BE32-E72D297353CC}">
                <c16:uniqueId val="{00000009-0B11-408B-B9A7-2C2984287608}"/>
              </c:ext>
            </c:extLst>
          </c:dPt>
          <c:dPt>
            <c:idx val="5"/>
            <c:bubble3D val="0"/>
            <c:spPr>
              <a:solidFill>
                <a:schemeClr val="accent6">
                  <a:lumMod val="40000"/>
                  <a:lumOff val="60000"/>
                  <a:alpha val="70000"/>
                </a:schemeClr>
              </a:solidFill>
              <a:ln w="19050">
                <a:solidFill>
                  <a:schemeClr val="lt1"/>
                </a:solidFill>
              </a:ln>
              <a:effectLst/>
            </c:spPr>
            <c:extLst>
              <c:ext xmlns:c16="http://schemas.microsoft.com/office/drawing/2014/chart" uri="{C3380CC4-5D6E-409C-BE32-E72D297353CC}">
                <c16:uniqueId val="{0000000B-0B11-408B-B9A7-2C2984287608}"/>
              </c:ext>
            </c:extLst>
          </c:dPt>
          <c:dPt>
            <c:idx val="6"/>
            <c:bubble3D val="0"/>
            <c:spPr>
              <a:solidFill>
                <a:schemeClr val="accent6">
                  <a:lumMod val="20000"/>
                  <a:lumOff val="80000"/>
                  <a:alpha val="70000"/>
                </a:schemeClr>
              </a:solidFill>
              <a:ln w="19050">
                <a:solidFill>
                  <a:schemeClr val="lt1"/>
                </a:solidFill>
              </a:ln>
              <a:effectLst/>
            </c:spPr>
            <c:extLst>
              <c:ext xmlns:c16="http://schemas.microsoft.com/office/drawing/2014/chart" uri="{C3380CC4-5D6E-409C-BE32-E72D297353CC}">
                <c16:uniqueId val="{0000000D-0B11-408B-B9A7-2C2984287608}"/>
              </c:ext>
            </c:extLst>
          </c:dPt>
          <c:dPt>
            <c:idx val="7"/>
            <c:bubble3D val="0"/>
            <c:spPr>
              <a:solidFill>
                <a:schemeClr val="bg1">
                  <a:lumMod val="75000"/>
                  <a:alpha val="70000"/>
                </a:schemeClr>
              </a:solidFill>
              <a:ln w="19050">
                <a:solidFill>
                  <a:schemeClr val="lt1"/>
                </a:solidFill>
              </a:ln>
              <a:effectLst/>
            </c:spPr>
            <c:extLst>
              <c:ext xmlns:c16="http://schemas.microsoft.com/office/drawing/2014/chart" uri="{C3380CC4-5D6E-409C-BE32-E72D297353CC}">
                <c16:uniqueId val="{0000000F-0B11-408B-B9A7-2C2984287608}"/>
              </c:ext>
            </c:extLst>
          </c:dPt>
          <c:dPt>
            <c:idx val="8"/>
            <c:bubble3D val="0"/>
            <c:spPr>
              <a:solidFill>
                <a:schemeClr val="bg1">
                  <a:lumMod val="85000"/>
                  <a:alpha val="70000"/>
                </a:schemeClr>
              </a:solidFill>
              <a:ln w="19050">
                <a:solidFill>
                  <a:schemeClr val="lt1"/>
                </a:solidFill>
              </a:ln>
              <a:effectLst/>
            </c:spPr>
            <c:extLst>
              <c:ext xmlns:c16="http://schemas.microsoft.com/office/drawing/2014/chart" uri="{C3380CC4-5D6E-409C-BE32-E72D297353CC}">
                <c16:uniqueId val="{00000011-0B11-408B-B9A7-2C2984287608}"/>
              </c:ext>
            </c:extLst>
          </c:dPt>
          <c:dLbls>
            <c:dLbl>
              <c:idx val="0"/>
              <c:layout>
                <c:manualLayout>
                  <c:x val="4.6065605186413956E-2"/>
                  <c:y val="-6.8403531592005629E-2"/>
                </c:manualLayout>
              </c:layout>
              <c:spPr>
                <a:solidFill>
                  <a:schemeClr val="bg1">
                    <a:lumMod val="9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1-0B11-408B-B9A7-2C2984287608}"/>
                </c:ext>
              </c:extLst>
            </c:dLbl>
            <c:dLbl>
              <c:idx val="1"/>
              <c:layout>
                <c:manualLayout>
                  <c:x val="8.0614695726189844E-2"/>
                  <c:y val="-6.3517565049719546E-2"/>
                </c:manualLayout>
              </c:layout>
              <c:spPr>
                <a:solidFill>
                  <a:schemeClr val="bg1"/>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3-0B11-408B-B9A7-2C2984287608}"/>
                </c:ext>
              </c:extLst>
            </c:dLbl>
            <c:dLbl>
              <c:idx val="6"/>
              <c:layout>
                <c:manualLayout>
                  <c:x val="1.5113337943908963E-7"/>
                  <c:y val="1.4657899626858305E-2"/>
                </c:manualLayout>
              </c:layout>
              <c:spPr>
                <a:solidFill>
                  <a:schemeClr val="accent6">
                    <a:lumMod val="20000"/>
                    <a:lumOff val="8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D-0B11-408B-B9A7-2C2984287608}"/>
                </c:ext>
              </c:extLst>
            </c:dLbl>
            <c:dLbl>
              <c:idx val="7"/>
              <c:layout>
                <c:manualLayout>
                  <c:x val="-7.6774245421263841E-3"/>
                  <c:y val="-2.93157992537167E-2"/>
                </c:manualLayout>
              </c:layout>
              <c:spPr>
                <a:solidFill>
                  <a:schemeClr val="bg1">
                    <a:lumMod val="7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F-0B11-408B-B9A7-2C2984287608}"/>
                </c:ext>
              </c:extLst>
            </c:dLbl>
            <c:dLbl>
              <c:idx val="8"/>
              <c:layout>
                <c:manualLayout>
                  <c:x val="1.5113337943908963E-7"/>
                  <c:y val="-8.3061431218863988E-2"/>
                </c:manualLayout>
              </c:layout>
              <c:spPr>
                <a:solidFill>
                  <a:schemeClr val="bg1">
                    <a:lumMod val="8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6864809922436244E-2"/>
                    </c:manualLayout>
                  </c15:layout>
                </c:ext>
                <c:ext xmlns:c16="http://schemas.microsoft.com/office/drawing/2014/chart" uri="{C3380CC4-5D6E-409C-BE32-E72D297353CC}">
                  <c16:uniqueId val="{00000011-0B11-408B-B9A7-2C298428760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10"/>
                <c:pt idx="0">
                  <c:v>Transportation</c:v>
                </c:pt>
                <c:pt idx="1">
                  <c:v>Industrials</c:v>
                </c:pt>
                <c:pt idx="2">
                  <c:v>Consumer Discretionary</c:v>
                </c:pt>
                <c:pt idx="3">
                  <c:v>Technology</c:v>
                </c:pt>
                <c:pt idx="4">
                  <c:v>Consumer Staples</c:v>
                </c:pt>
                <c:pt idx="5">
                  <c:v>Materials</c:v>
                </c:pt>
                <c:pt idx="6">
                  <c:v>Financial services</c:v>
                </c:pt>
                <c:pt idx="7">
                  <c:v>Healthcare</c:v>
                </c:pt>
                <c:pt idx="8">
                  <c:v>Utilities</c:v>
                </c:pt>
                <c:pt idx="9">
                  <c:v>Cash</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12-0B11-408B-B9A7-2C298428760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0833333333333334"/>
          <c:w val="0.48333333333333334"/>
          <c:h val="0.72499999999999998"/>
        </c:manualLayout>
      </c:layout>
      <c:doughnutChart>
        <c:varyColors val="1"/>
        <c:ser>
          <c:idx val="0"/>
          <c:order val="0"/>
          <c:tx>
            <c:strRef>
              <c:f>Sheet1!$B$1</c:f>
              <c:strCache>
                <c:ptCount val="1"/>
                <c:pt idx="0">
                  <c:v>Weight</c:v>
                </c:pt>
              </c:strCache>
            </c:strRef>
          </c:tx>
          <c:spPr>
            <a:ln w="19050">
              <a:solidFill>
                <a:schemeClr val="bg1"/>
              </a:solidFill>
              <a:prstDash val="solid"/>
            </a:ln>
          </c:spPr>
          <c:dPt>
            <c:idx val="0"/>
            <c:bubble3D val="0"/>
            <c:spPr>
              <a:solidFill>
                <a:schemeClr val="accent6">
                  <a:lumMod val="50000"/>
                  <a:alpha val="70000"/>
                </a:schemeClr>
              </a:solidFill>
              <a:ln w="19050">
                <a:solidFill>
                  <a:schemeClr val="bg1"/>
                </a:solidFill>
                <a:prstDash val="solid"/>
              </a:ln>
              <a:effectLst/>
            </c:spPr>
            <c:extLst>
              <c:ext xmlns:c16="http://schemas.microsoft.com/office/drawing/2014/chart" uri="{C3380CC4-5D6E-409C-BE32-E72D297353CC}">
                <c16:uniqueId val="{00000001-221E-412B-872B-E2E00E15FA86}"/>
              </c:ext>
            </c:extLst>
          </c:dPt>
          <c:dPt>
            <c:idx val="1"/>
            <c:bubble3D val="0"/>
            <c:spPr>
              <a:solidFill>
                <a:schemeClr val="accent6">
                  <a:alpha val="70000"/>
                </a:schemeClr>
              </a:solidFill>
              <a:ln w="19050">
                <a:solidFill>
                  <a:schemeClr val="bg1"/>
                </a:solidFill>
                <a:prstDash val="solid"/>
              </a:ln>
              <a:effectLst/>
            </c:spPr>
            <c:extLst>
              <c:ext xmlns:c16="http://schemas.microsoft.com/office/drawing/2014/chart" uri="{C3380CC4-5D6E-409C-BE32-E72D297353CC}">
                <c16:uniqueId val="{00000003-221E-412B-872B-E2E00E15FA86}"/>
              </c:ext>
            </c:extLst>
          </c:dPt>
          <c:dPt>
            <c:idx val="2"/>
            <c:bubble3D val="0"/>
            <c:spPr>
              <a:solidFill>
                <a:schemeClr val="accent6">
                  <a:lumMod val="60000"/>
                  <a:lumOff val="40000"/>
                  <a:alpha val="70000"/>
                </a:schemeClr>
              </a:solidFill>
              <a:ln w="19050">
                <a:solidFill>
                  <a:schemeClr val="bg1"/>
                </a:solidFill>
                <a:prstDash val="solid"/>
              </a:ln>
              <a:effectLst/>
            </c:spPr>
            <c:extLst>
              <c:ext xmlns:c16="http://schemas.microsoft.com/office/drawing/2014/chart" uri="{C3380CC4-5D6E-409C-BE32-E72D297353CC}">
                <c16:uniqueId val="{00000005-221E-412B-872B-E2E00E15FA86}"/>
              </c:ext>
            </c:extLst>
          </c:dPt>
          <c:dPt>
            <c:idx val="3"/>
            <c:bubble3D val="0"/>
            <c:spPr>
              <a:solidFill>
                <a:schemeClr val="accent6">
                  <a:lumMod val="40000"/>
                  <a:lumOff val="60000"/>
                  <a:alpha val="70000"/>
                </a:schemeClr>
              </a:solidFill>
              <a:ln w="19050">
                <a:solidFill>
                  <a:schemeClr val="bg1"/>
                </a:solidFill>
                <a:prstDash val="solid"/>
              </a:ln>
              <a:effectLst/>
            </c:spPr>
            <c:extLst>
              <c:ext xmlns:c16="http://schemas.microsoft.com/office/drawing/2014/chart" uri="{C3380CC4-5D6E-409C-BE32-E72D297353CC}">
                <c16:uniqueId val="{00000007-221E-412B-872B-E2E00E15FA86}"/>
              </c:ext>
            </c:extLst>
          </c:dPt>
          <c:dPt>
            <c:idx val="4"/>
            <c:bubble3D val="0"/>
            <c:spPr>
              <a:solidFill>
                <a:schemeClr val="accent6">
                  <a:lumMod val="40000"/>
                  <a:lumOff val="60000"/>
                </a:schemeClr>
              </a:solidFill>
              <a:ln w="19050">
                <a:solidFill>
                  <a:schemeClr val="bg1"/>
                </a:solidFill>
                <a:prstDash val="solid"/>
              </a:ln>
              <a:effectLst/>
            </c:spPr>
            <c:extLst>
              <c:ext xmlns:c16="http://schemas.microsoft.com/office/drawing/2014/chart" uri="{C3380CC4-5D6E-409C-BE32-E72D297353CC}">
                <c16:uniqueId val="{00000009-221E-412B-872B-E2E00E15FA86}"/>
              </c:ext>
            </c:extLst>
          </c:dPt>
          <c:dLbls>
            <c:dLbl>
              <c:idx val="4"/>
              <c:layout>
                <c:manualLayout>
                  <c:x val="1.5113337943908963E-7"/>
                  <c:y val="-3.4201765796002842E-2"/>
                </c:manualLayout>
              </c:layout>
              <c:numFmt formatCode="0%" sourceLinked="0"/>
              <c:spPr>
                <a:solidFill>
                  <a:schemeClr val="accent6">
                    <a:lumMod val="40000"/>
                    <a:lumOff val="6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9-221E-412B-872B-E2E00E15FA8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orth America</c:v>
                </c:pt>
                <c:pt idx="1">
                  <c:v>Europe</c:v>
                </c:pt>
                <c:pt idx="2">
                  <c:v>Asia</c:v>
                </c:pt>
                <c:pt idx="3">
                  <c:v>Africa</c:v>
                </c:pt>
                <c:pt idx="4">
                  <c:v>Cash</c:v>
                </c:pt>
              </c:strCache>
            </c:strRef>
          </c:cat>
          <c:val>
            <c:numRef>
              <c:f>Sheet1!$B$2:$B$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A-221E-412B-872B-E2E00E15FA8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177D4A4-2BD7-A4F5-363F-90280D954C7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83B0B4-4DB8-4356-89CF-1B6DF44DDB31}" type="datetimeFigureOut">
              <a:rPr lang="en-ZA" smtClean="0"/>
              <a:t>2025/10/29</a:t>
            </a:fld>
            <a:endParaRPr lang="en-ZA"/>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DABF5-BA7F-4826-9472-9B655D25709B}" type="slidenum">
              <a:rPr lang="en-ZA" smtClean="0"/>
              <a:t>‹#›</a:t>
            </a:fld>
            <a:endParaRPr lang="en-ZA"/>
          </a:p>
        </p:txBody>
      </p:sp>
    </p:spTree>
    <p:extLst>
      <p:ext uri="{BB962C8B-B14F-4D97-AF65-F5344CB8AC3E}">
        <p14:creationId xmlns:p14="http://schemas.microsoft.com/office/powerpoint/2010/main" val="140558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650DABF5-BA7F-4826-9472-9B655D25709B}" type="slidenum">
              <a:rPr lang="en-ZA" smtClean="0"/>
              <a:t>1</a:t>
            </a:fld>
            <a:endParaRPr lang="en-ZA"/>
          </a:p>
        </p:txBody>
      </p:sp>
    </p:spTree>
    <p:extLst>
      <p:ext uri="{BB962C8B-B14F-4D97-AF65-F5344CB8AC3E}">
        <p14:creationId xmlns:p14="http://schemas.microsoft.com/office/powerpoint/2010/main" val="309567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A5AF-FF03-F7F2-3CE6-1602601F8A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47D27EC-E08E-F506-4546-8B2A87D6557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25348CF-22CF-96A1-7361-92C86CE0430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38BFA3D-73A0-D53D-982C-61E3ED42827C}"/>
              </a:ext>
            </a:extLst>
          </p:cNvPr>
          <p:cNvSpPr>
            <a:spLocks noGrp="1"/>
          </p:cNvSpPr>
          <p:nvPr>
            <p:ph type="sldNum" sz="quarter" idx="5"/>
          </p:nvPr>
        </p:nvSpPr>
        <p:spPr/>
        <p:txBody>
          <a:bodyPr/>
          <a:lstStyle/>
          <a:p>
            <a:fld id="{650DABF5-BA7F-4826-9472-9B655D25709B}" type="slidenum">
              <a:rPr lang="en-ZA" smtClean="0"/>
              <a:t>2</a:t>
            </a:fld>
            <a:endParaRPr lang="en-ZA"/>
          </a:p>
        </p:txBody>
      </p:sp>
    </p:spTree>
    <p:extLst>
      <p:ext uri="{BB962C8B-B14F-4D97-AF65-F5344CB8AC3E}">
        <p14:creationId xmlns:p14="http://schemas.microsoft.com/office/powerpoint/2010/main" val="3419577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185574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219464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368578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581671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9021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420764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9147E2-1A9D-4971-9230-11EE99FA0237}" type="datetimeFigureOut">
              <a:rPr lang="en-ZA" smtClean="0"/>
              <a:t>2025/10/29</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63695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9147E2-1A9D-4971-9230-11EE99FA0237}" type="datetimeFigureOut">
              <a:rPr lang="en-ZA" smtClean="0"/>
              <a:t>2025/10/29</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75198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92C441E-A24D-36FE-C833-C05192970D1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Date Placeholder 1"/>
          <p:cNvSpPr>
            <a:spLocks noGrp="1"/>
          </p:cNvSpPr>
          <p:nvPr>
            <p:ph type="dt" sz="half" idx="10"/>
          </p:nvPr>
        </p:nvSpPr>
        <p:spPr/>
        <p:txBody>
          <a:bodyPr/>
          <a:lstStyle/>
          <a:p>
            <a:fld id="{899147E2-1A9D-4971-9230-11EE99FA0237}" type="datetimeFigureOut">
              <a:rPr lang="en-ZA" smtClean="0"/>
              <a:t>2025/10/29</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709778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47780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38317851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899147E2-1A9D-4971-9230-11EE99FA0237}" type="datetimeFigureOut">
              <a:rPr lang="en-ZA" smtClean="0"/>
              <a:t>2025/10/29</a:t>
            </a:fld>
            <a:endParaRPr lang="en-ZA"/>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1079F54-34F3-4503-B9A3-E06A6762BE0B}" type="slidenum">
              <a:rPr lang="en-ZA" smtClean="0"/>
              <a:t>‹#›</a:t>
            </a:fld>
            <a:endParaRPr lang="en-ZA"/>
          </a:p>
        </p:txBody>
      </p:sp>
    </p:spTree>
    <p:extLst>
      <p:ext uri="{BB962C8B-B14F-4D97-AF65-F5344CB8AC3E}">
        <p14:creationId xmlns:p14="http://schemas.microsoft.com/office/powerpoint/2010/main" val="28170454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9.png"/><Relationship Id="rId15" Type="http://schemas.microsoft.com/office/2007/relationships/hdphoto" Target="../media/hdphoto1.wdp"/><Relationship Id="rId16" Type="http://schemas.openxmlformats.org/officeDocument/2006/relationships/image" Target="../media/image10.png"/><Relationship Id="rId17" Type="http://schemas.microsoft.com/office/2007/relationships/hdphoto" Target="../media/hdphoto2.wdp"/><Relationship Id="rId18" Type="http://schemas.openxmlformats.org/officeDocument/2006/relationships/image" Target="../media/image11.png"/><Relationship Id="rId19" Type="http://schemas.openxmlformats.org/officeDocument/2006/relationships/image" Target="../media/image12.png"/><Relationship Id="rId20" Type="http://schemas.microsoft.com/office/2007/relationships/hdphoto" Target="../media/hdphoto3.wdp"/><Relationship Id="rId21" Type="http://schemas.openxmlformats.org/officeDocument/2006/relationships/image" Target="../media/image13.png"/><Relationship Id="rId22" Type="http://schemas.microsoft.com/office/2007/relationships/hdphoto" Target="../media/hdphoto4.wdp"/><Relationship Id="rId23"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14.png"/><Relationship Id="rId15" Type="http://schemas.openxmlformats.org/officeDocument/2006/relationships/image" Target="../media/image15.svg"/><Relationship Id="rId16" Type="http://schemas.openxmlformats.org/officeDocument/2006/relationships/image" Target="../media/image16.png"/><Relationship Id="rId17" Type="http://schemas.openxmlformats.org/officeDocument/2006/relationships/image" Target="../media/image17.svg"/><Relationship Id="rId18" Type="http://schemas.openxmlformats.org/officeDocument/2006/relationships/image" Target="../media/image18.png"/><Relationship Id="rId19" Type="http://schemas.openxmlformats.org/officeDocument/2006/relationships/image" Target="../media/image19.svg"/><Relationship Id="rId20" Type="http://schemas.openxmlformats.org/officeDocument/2006/relationships/image" Target="../media/image20.png"/><Relationship Id="rId21" Type="http://schemas.openxmlformats.org/officeDocument/2006/relationships/image" Target="../media/image21.svg"/><Relationship Id="rId22" Type="http://schemas.openxmlformats.org/officeDocument/2006/relationships/image" Target="../media/image22.png"/><Relationship Id="rId23" Type="http://schemas.openxmlformats.org/officeDocument/2006/relationships/image" Target="../media/image23.svg"/><Relationship Id="rId24" Type="http://schemas.openxmlformats.org/officeDocument/2006/relationships/image" Target="../media/image24.png"/><Relationship Id="rId25" Type="http://schemas.openxmlformats.org/officeDocument/2006/relationships/image" Target="../media/image25.svg"/><Relationship Id="rId26" Type="http://schemas.openxmlformats.org/officeDocument/2006/relationships/image" Target="../media/image26.png"/><Relationship Id="rId27" Type="http://schemas.openxmlformats.org/officeDocument/2006/relationships/image" Target="../media/image27.svg"/><Relationship Id="rId28" Type="http://schemas.openxmlformats.org/officeDocument/2006/relationships/image" Target="../media/image28.png"/><Relationship Id="rId29" Type="http://schemas.openxmlformats.org/officeDocument/2006/relationships/image" Target="../media/image29.svg"/><Relationship Id="rId30" Type="http://schemas.openxmlformats.org/officeDocument/2006/relationships/image" Target="../media/image30.png"/><Relationship Id="rId31" Type="http://schemas.openxmlformats.org/officeDocument/2006/relationships/image" Target="../media/image31.svg"/><Relationship Id="rId32" Type="http://schemas.openxmlformats.org/officeDocument/2006/relationships/image" Target="../media/image32.png"/><Relationship Id="rId33" Type="http://schemas.openxmlformats.org/officeDocument/2006/relationships/image" Target="../media/image33.svg"/><Relationship Id="rId34" Type="http://schemas.openxmlformats.org/officeDocument/2006/relationships/image" Target="../media/image34.png"/><Relationship Id="rId35" Type="http://schemas.openxmlformats.org/officeDocument/2006/relationships/image" Target="../media/image35.svg"/><Relationship Id="rId36" Type="http://schemas.openxmlformats.org/officeDocument/2006/relationships/image" Target="../media/image36.png"/><Relationship Id="rId37" Type="http://schemas.openxmlformats.org/officeDocument/2006/relationships/image" Target="../media/image37.svg"/><Relationship Id="rId38" Type="http://schemas.openxmlformats.org/officeDocument/2006/relationships/image" Target="../media/image38.png"/><Relationship Id="rId39" Type="http://schemas.openxmlformats.org/officeDocument/2006/relationships/image" Target="../media/image39.svg"/><Relationship Id="rId40" Type="http://schemas.openxmlformats.org/officeDocument/2006/relationships/image" Target="../media/image40.png"/><Relationship Id="rId41" Type="http://schemas.openxmlformats.org/officeDocument/2006/relationships/image" Target="../media/image41.svg"/><Relationship Id="rId42" Type="http://schemas.openxmlformats.org/officeDocument/2006/relationships/image" Target="../media/image42.png"/><Relationship Id="rId43" Type="http://schemas.microsoft.com/office/2007/relationships/hdphoto" Target="../media/hdphoto5.wdp"/><Relationship Id="rId44" Type="http://schemas.openxmlformats.org/officeDocument/2006/relationships/image" Target="../media/image43.png"/><Relationship Id="rId45" Type="http://schemas.microsoft.com/office/2007/relationships/hdphoto" Target="../media/hdphoto6.wdp"/><Relationship Id="rId46" Type="http://schemas.openxmlformats.org/officeDocument/2006/relationships/image" Target="../media/image44.png"/><Relationship Id="rId47" Type="http://schemas.microsoft.com/office/2007/relationships/hdphoto" Target="../media/hdphoto7.wdp"/><Relationship Id="rId48" Type="http://schemas.openxmlformats.org/officeDocument/2006/relationships/chart" Target="../charts/chart2.xml"/><Relationship Id="rId49"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7817319-FBEE-F9F8-A63A-DAF0A4BCAD55}"/>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05FBD931-77C6-E74C-6837-20795E9F3819}"/>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F7FF33B2-B67E-2C47-A922-E3B18CE0ACAA}"/>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AA4FED92-FC9E-4AFE-A0C3-5F67F10831EF}"/>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sp>
        <p:nvSpPr>
          <p:cNvPr id="61" name="PORTFOLIO_NAME">
            <a:extLst>
              <a:ext uri="{FF2B5EF4-FFF2-40B4-BE49-F238E27FC236}">
                <a16:creationId xmlns:a16="http://schemas.microsoft.com/office/drawing/2014/main" id="{B2735D28-9572-422E-9448-96127A3D51A0}"/>
              </a:ext>
            </a:extLst>
          </p:cNvPr>
          <p:cNvSpPr txBox="1"/>
          <p:nvPr/>
        </p:nvSpPr>
        <p:spPr>
          <a:xfrm>
            <a:off x="292608" y="348002"/>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
            <a:extLst>
              <a:ext uri="{FF2B5EF4-FFF2-40B4-BE49-F238E27FC236}">
                <a16:creationId xmlns:a16="http://schemas.microsoft.com/office/drawing/2014/main" id="{54AD899D-67A1-4034-848B-0D2C28E83CE6}"/>
              </a:ext>
            </a:extLst>
          </p:cNvPr>
          <p:cNvSpPr txBox="1"/>
          <p:nvPr/>
        </p:nvSpPr>
        <p:spPr>
          <a:xfrm>
            <a:off x="292608" y="588777"/>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29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nvGrpSpPr>
          <p:cNvPr id="1028" name="Group 1027">
            <a:extLst>
              <a:ext uri="{FF2B5EF4-FFF2-40B4-BE49-F238E27FC236}">
                <a16:creationId xmlns:a16="http://schemas.microsoft.com/office/drawing/2014/main" id="{CAABA66D-E5A9-A768-B6E3-25B349636CF6}"/>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960CACED-06CB-3EFD-A814-35C4F800DF45}"/>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90042EF2-03E5-FB3F-427B-CD408CFBC546}"/>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85142DE5-3361-D9D8-B2E7-6EE43510FC64}"/>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09BDD64A-648A-D3B1-1CD1-D88F68203600}"/>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A5111EF6-7BB1-A829-52E0-DABA4A249720}"/>
              </a:ext>
            </a:extLst>
          </p:cNvPr>
          <p:cNvSpPr/>
          <p:nvPr/>
        </p:nvSpPr>
        <p:spPr>
          <a:xfrm>
            <a:off x="292608"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93ECBF78-E095-0FD7-1064-267F2E9C4CC2}"/>
              </a:ext>
            </a:extLst>
          </p:cNvPr>
          <p:cNvSpPr/>
          <p:nvPr/>
        </p:nvSpPr>
        <p:spPr>
          <a:xfrm>
            <a:off x="292608" y="6853355"/>
            <a:ext cx="6272784" cy="277222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56CCE26D-359B-7FB8-88E1-4FA9AE8978ED}"/>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1</a:t>
            </a:r>
            <a:endParaRPr lang="en-GB" sz="1200" dirty="0">
              <a:solidFill>
                <a:schemeClr val="bg1"/>
              </a:solidFill>
            </a:endParaRPr>
          </a:p>
        </p:txBody>
      </p:sp>
      <p:sp>
        <p:nvSpPr>
          <p:cNvPr id="1048" name="Rectangle 1047">
            <a:extLst>
              <a:ext uri="{FF2B5EF4-FFF2-40B4-BE49-F238E27FC236}">
                <a16:creationId xmlns:a16="http://schemas.microsoft.com/office/drawing/2014/main" id="{7962D9A7-5942-AC53-AE92-AF721B36A947}"/>
              </a:ext>
            </a:extLst>
          </p:cNvPr>
          <p:cNvSpPr/>
          <p:nvPr/>
        </p:nvSpPr>
        <p:spPr>
          <a:xfrm>
            <a:off x="3483000"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06B72A2C-5F73-D79D-13B4-8D727F7F5D7D}"/>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0A71B9AF-2A7E-58DB-5199-3098FB55D63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AA11C72D-7F22-8F5E-781C-48AC4F0C3D51}"/>
                </a:ext>
              </a:extLst>
            </p:cNvPr>
            <p:cNvSpPr/>
            <p:nvPr/>
          </p:nvSpPr>
          <p:spPr>
            <a:xfrm>
              <a:off x="30022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I</a:t>
              </a:r>
              <a:r>
                <a:rPr lang="en-GB" sz="1000" b="1" dirty="0" err="1">
                  <a:solidFill>
                    <a:schemeClr val="bg1"/>
                  </a:solidFill>
                  <a:latin typeface="Bierstadt"/>
                </a:rPr>
                <a:t>nvestment</a:t>
              </a:r>
              <a:r>
                <a:rPr lang="en-GB" sz="1000" b="1" dirty="0">
                  <a:solidFill>
                    <a:schemeClr val="bg1"/>
                  </a:solidFill>
                  <a:latin typeface="Bierstadt"/>
                </a:rPr>
                <a:t> objective &amp; philosophy</a:t>
              </a:r>
            </a:p>
          </p:txBody>
        </p:sp>
      </p:grpSp>
      <p:sp>
        <p:nvSpPr>
          <p:cNvPr id="1051" name="TextBox 1050">
            <a:extLst>
              <a:ext uri="{FF2B5EF4-FFF2-40B4-BE49-F238E27FC236}">
                <a16:creationId xmlns:a16="http://schemas.microsoft.com/office/drawing/2014/main" id="{D48B7A90-0C92-ED60-2FC0-B121F36CC0F4}"/>
              </a:ext>
            </a:extLst>
          </p:cNvPr>
          <p:cNvSpPr txBox="1"/>
          <p:nvPr/>
        </p:nvSpPr>
        <p:spPr>
          <a:xfrm>
            <a:off x="292607" y="1246239"/>
            <a:ext cx="3082392" cy="230832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Kukula Global Growth Portfolio is a moderate- to high-risk, growth-oriented equity portfolio designed to deliver long-term returns through capital appreciation and dividends. The portfolio seeks exposure to global leaders in sectors driving structural change, including technology, financials, and critical resources, while maintaining diversification across regions and industries.</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dirty="0">
              <a:solidFill>
                <a:schemeClr val="bg1"/>
              </a:solidFill>
              <a:latin typeface="Bierstadt" panose="020B0004020202020204" pitchFamily="34" charset="0"/>
              <a:cs typeface="Helvetica"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We invest in responsible, high-quality companies with strong fundamentals, sustainable growth prospects, and sound governance. Our investment process is active and research-driven. Kukula’s portfolio management is characterized by agility, allowing us to swiftly adjust positioning and restructure holdings when market conditions change, protecting value while capturing opportunities in emerging global trends.</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4" name="Group 3">
            <a:extLst>
              <a:ext uri="{FF2B5EF4-FFF2-40B4-BE49-F238E27FC236}">
                <a16:creationId xmlns:a16="http://schemas.microsoft.com/office/drawing/2014/main" id="{2363E094-084C-5C1E-34A6-CE0088951EEF}"/>
              </a:ext>
            </a:extLst>
          </p:cNvPr>
          <p:cNvGrpSpPr/>
          <p:nvPr/>
        </p:nvGrpSpPr>
        <p:grpSpPr>
          <a:xfrm>
            <a:off x="845287" y="4363577"/>
            <a:ext cx="1694214" cy="775351"/>
            <a:chOff x="845287" y="3807317"/>
            <a:chExt cx="1694214" cy="775351"/>
          </a:xfrm>
        </p:grpSpPr>
        <p:cxnSp>
          <p:nvCxnSpPr>
            <p:cNvPr id="1070" name="Straight Connector 1069">
              <a:extLst>
                <a:ext uri="{FF2B5EF4-FFF2-40B4-BE49-F238E27FC236}">
                  <a16:creationId xmlns:a16="http://schemas.microsoft.com/office/drawing/2014/main" id="{2602B7CB-5E08-C13E-40FB-3E3190CAABE5}"/>
                </a:ext>
              </a:extLst>
            </p:cNvPr>
            <p:cNvCxnSpPr/>
            <p:nvPr/>
          </p:nvCxnSpPr>
          <p:spPr>
            <a:xfrm>
              <a:off x="845287" y="3901103"/>
              <a:ext cx="176042" cy="0"/>
            </a:xfrm>
            <a:prstGeom prst="line">
              <a:avLst/>
            </a:prstGeom>
            <a:ln w="38100">
              <a:solidFill>
                <a:srgbClr val="92D050"/>
              </a:solidFill>
              <a:prstDash val="solid"/>
            </a:ln>
          </p:spPr>
          <p:style>
            <a:lnRef idx="1">
              <a:schemeClr val="accent1"/>
            </a:lnRef>
            <a:fillRef idx="0">
              <a:schemeClr val="accent1"/>
            </a:fillRef>
            <a:effectRef idx="0">
              <a:schemeClr val="accent1"/>
            </a:effectRef>
            <a:fontRef idx="minor">
              <a:schemeClr val="tx1"/>
            </a:fontRef>
          </p:style>
        </p:cxnSp>
        <p:sp>
          <p:nvSpPr>
            <p:cNvPr id="1075" name="Rectangle 1074">
              <a:extLst>
                <a:ext uri="{FF2B5EF4-FFF2-40B4-BE49-F238E27FC236}">
                  <a16:creationId xmlns:a16="http://schemas.microsoft.com/office/drawing/2014/main" id="{6025C487-0FBB-0D38-1A73-63B7E914BB20}"/>
                </a:ext>
              </a:extLst>
            </p:cNvPr>
            <p:cNvSpPr/>
            <p:nvPr/>
          </p:nvSpPr>
          <p:spPr>
            <a:xfrm>
              <a:off x="1021329" y="380731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USD)</a:t>
              </a:r>
              <a:endParaRPr lang="en-GB" sz="1400" dirty="0">
                <a:solidFill>
                  <a:schemeClr val="bg1"/>
                </a:solidFill>
                <a:latin typeface="Bierstadt" panose="020B0004020202020204" pitchFamily="34" charset="0"/>
              </a:endParaRPr>
            </a:p>
          </p:txBody>
        </p:sp>
        <p:cxnSp>
          <p:nvCxnSpPr>
            <p:cNvPr id="1068" name="Straight Connector 1067">
              <a:extLst>
                <a:ext uri="{FF2B5EF4-FFF2-40B4-BE49-F238E27FC236}">
                  <a16:creationId xmlns:a16="http://schemas.microsoft.com/office/drawing/2014/main" id="{0EECB6F3-3516-0EF1-ED24-EDF6996DBBAD}"/>
                </a:ext>
              </a:extLst>
            </p:cNvPr>
            <p:cNvCxnSpPr/>
            <p:nvPr/>
          </p:nvCxnSpPr>
          <p:spPr>
            <a:xfrm>
              <a:off x="845287" y="4097029"/>
              <a:ext cx="176042" cy="0"/>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37B38338-8830-D42A-78E5-19D2D9D00DE1}"/>
                </a:ext>
              </a:extLst>
            </p:cNvPr>
            <p:cNvSpPr/>
            <p:nvPr/>
          </p:nvSpPr>
          <p:spPr>
            <a:xfrm>
              <a:off x="1021329" y="4003243"/>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USD)</a:t>
              </a:r>
              <a:endParaRPr lang="en-GB" sz="1400" dirty="0">
                <a:solidFill>
                  <a:schemeClr val="bg1"/>
                </a:solidFill>
                <a:latin typeface="Bierstadt" panose="020B0004020202020204" pitchFamily="34" charset="0"/>
              </a:endParaRPr>
            </a:p>
          </p:txBody>
        </p:sp>
        <p:cxnSp>
          <p:nvCxnSpPr>
            <p:cNvPr id="1074" name="Straight Connector 1073">
              <a:extLst>
                <a:ext uri="{FF2B5EF4-FFF2-40B4-BE49-F238E27FC236}">
                  <a16:creationId xmlns:a16="http://schemas.microsoft.com/office/drawing/2014/main" id="{01FF496C-1B63-9F7A-E785-BD8601DA11B9}"/>
                </a:ext>
              </a:extLst>
            </p:cNvPr>
            <p:cNvCxnSpPr/>
            <p:nvPr/>
          </p:nvCxnSpPr>
          <p:spPr>
            <a:xfrm>
              <a:off x="845287" y="4292957"/>
              <a:ext cx="176042" cy="0"/>
            </a:xfrm>
            <a:prstGeom prst="line">
              <a:avLst/>
            </a:prstGeom>
            <a:ln w="381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71" name="Rectangle 1070">
              <a:extLst>
                <a:ext uri="{FF2B5EF4-FFF2-40B4-BE49-F238E27FC236}">
                  <a16:creationId xmlns:a16="http://schemas.microsoft.com/office/drawing/2014/main" id="{5EF8955E-1811-625A-2E9D-62F78E7966F0}"/>
                </a:ext>
              </a:extLst>
            </p:cNvPr>
            <p:cNvSpPr/>
            <p:nvPr/>
          </p:nvSpPr>
          <p:spPr>
            <a:xfrm>
              <a:off x="1021329" y="4199170"/>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ZMW)</a:t>
              </a:r>
              <a:endParaRPr lang="en-GB" sz="1400" dirty="0">
                <a:solidFill>
                  <a:schemeClr val="bg1"/>
                </a:solidFill>
                <a:latin typeface="Bierstadt" panose="020B0004020202020204" pitchFamily="34" charset="0"/>
              </a:endParaRPr>
            </a:p>
          </p:txBody>
        </p:sp>
        <p:cxnSp>
          <p:nvCxnSpPr>
            <p:cNvPr id="1072" name="Straight Connector 1071">
              <a:extLst>
                <a:ext uri="{FF2B5EF4-FFF2-40B4-BE49-F238E27FC236}">
                  <a16:creationId xmlns:a16="http://schemas.microsoft.com/office/drawing/2014/main" id="{067EAF58-9C59-E403-E8BE-82708F20FD33}"/>
                </a:ext>
              </a:extLst>
            </p:cNvPr>
            <p:cNvCxnSpPr/>
            <p:nvPr/>
          </p:nvCxnSpPr>
          <p:spPr>
            <a:xfrm>
              <a:off x="845287" y="4488883"/>
              <a:ext cx="176042"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069" name="Rectangle 1068">
              <a:extLst>
                <a:ext uri="{FF2B5EF4-FFF2-40B4-BE49-F238E27FC236}">
                  <a16:creationId xmlns:a16="http://schemas.microsoft.com/office/drawing/2014/main" id="{E01969D9-225F-E45F-5920-F199404DF842}"/>
                </a:ext>
              </a:extLst>
            </p:cNvPr>
            <p:cNvSpPr/>
            <p:nvPr/>
          </p:nvSpPr>
          <p:spPr>
            <a:xfrm>
              <a:off x="1021329" y="439509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ZMW)</a:t>
              </a:r>
              <a:endParaRPr lang="en-GB" sz="1400" dirty="0">
                <a:solidFill>
                  <a:schemeClr val="bg1"/>
                </a:solidFill>
                <a:latin typeface="Bierstadt" panose="020B0004020202020204" pitchFamily="34" charset="0"/>
              </a:endParaRPr>
            </a:p>
          </p:txBody>
        </p:sp>
      </p:grpSp>
      <p:grpSp>
        <p:nvGrpSpPr>
          <p:cNvPr id="1113" name="Group 1112">
            <a:extLst>
              <a:ext uri="{FF2B5EF4-FFF2-40B4-BE49-F238E27FC236}">
                <a16:creationId xmlns:a16="http://schemas.microsoft.com/office/drawing/2014/main" id="{C798E148-BFA6-6EF2-9543-ADF6CE2B8F40}"/>
              </a:ext>
            </a:extLst>
          </p:cNvPr>
          <p:cNvGrpSpPr/>
          <p:nvPr/>
        </p:nvGrpSpPr>
        <p:grpSpPr>
          <a:xfrm>
            <a:off x="292608" y="3487233"/>
            <a:ext cx="3082392" cy="232459"/>
            <a:chOff x="292608" y="3408468"/>
            <a:chExt cx="3082392" cy="232459"/>
          </a:xfrm>
        </p:grpSpPr>
        <p:cxnSp>
          <p:nvCxnSpPr>
            <p:cNvPr id="1110" name="Straight Connector 1109">
              <a:extLst>
                <a:ext uri="{FF2B5EF4-FFF2-40B4-BE49-F238E27FC236}">
                  <a16:creationId xmlns:a16="http://schemas.microsoft.com/office/drawing/2014/main" id="{E1E9F400-79E4-F605-CAC3-9C8DFB8A4E78}"/>
                </a:ext>
              </a:extLst>
            </p:cNvPr>
            <p:cNvCxnSpPr/>
            <p:nvPr/>
          </p:nvCxnSpPr>
          <p:spPr>
            <a:xfrm>
              <a:off x="292608" y="3640927"/>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1" name="Rectangle 1110">
              <a:extLst>
                <a:ext uri="{FF2B5EF4-FFF2-40B4-BE49-F238E27FC236}">
                  <a16:creationId xmlns:a16="http://schemas.microsoft.com/office/drawing/2014/main" id="{B72AFCF7-2C29-E7CB-8DB3-EF8C64B30C9D}"/>
                </a:ext>
              </a:extLst>
            </p:cNvPr>
            <p:cNvSpPr/>
            <p:nvPr/>
          </p:nvSpPr>
          <p:spPr>
            <a:xfrm>
              <a:off x="292608" y="3408468"/>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Portfolio performance since inception</a:t>
              </a:r>
              <a:endParaRPr lang="en-GB" sz="1000" b="1" dirty="0">
                <a:solidFill>
                  <a:schemeClr val="bg1"/>
                </a:solidFill>
                <a:latin typeface="Bierstadt" panose="020B0004020202020204" pitchFamily="34" charset="0"/>
              </a:endParaRPr>
            </a:p>
          </p:txBody>
        </p:sp>
      </p:grpSp>
      <p:sp>
        <p:nvSpPr>
          <p:cNvPr id="1116" name="Rectangle 1115">
            <a:extLst>
              <a:ext uri="{FF2B5EF4-FFF2-40B4-BE49-F238E27FC236}">
                <a16:creationId xmlns:a16="http://schemas.microsoft.com/office/drawing/2014/main" id="{B75CABC0-673B-2A1C-4D66-DBFEB420B5E4}"/>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Monthly return in USD %</a:t>
            </a:r>
            <a:endParaRPr lang="en-GB" sz="1000" b="1" dirty="0">
              <a:solidFill>
                <a:schemeClr val="bg1"/>
              </a:solidFill>
              <a:latin typeface="Bierstadt" panose="020B0004020202020204" pitchFamily="34" charset="0"/>
            </a:endParaRPr>
          </a:p>
        </p:txBody>
      </p:sp>
      <p:sp>
        <p:nvSpPr>
          <p:cNvPr id="1043" name="TextBox 1042">
            <a:extLst>
              <a:ext uri="{FF2B5EF4-FFF2-40B4-BE49-F238E27FC236}">
                <a16:creationId xmlns:a16="http://schemas.microsoft.com/office/drawing/2014/main" id="{74D90AD3-A784-38C5-B3F4-6A5A0D8E85D1}"/>
              </a:ext>
            </a:extLst>
          </p:cNvPr>
          <p:cNvSpPr txBox="1"/>
          <p:nvPr/>
        </p:nvSpPr>
        <p:spPr>
          <a:xfrm>
            <a:off x="292608" y="9210085"/>
            <a:ext cx="6272784" cy="415498"/>
          </a:xfrm>
          <a:prstGeom prst="rect">
            <a:avLst/>
          </a:prstGeom>
          <a:noFill/>
        </p:spPr>
        <p:txBody>
          <a:bodyPr wrap="square" rtlCol="0">
            <a:spAutoFit/>
          </a:bodyPr>
          <a:lstStyle/>
          <a:p>
            <a:pPr marL="171450" indent="-171450">
              <a:buFont typeface="Arial" panose="020B0604020202020204" pitchFamily="34" charset="0"/>
              <a:buChar char="•"/>
            </a:pPr>
            <a:r>
              <a:rPr lang="en-ZA" sz="700" dirty="0">
                <a:solidFill>
                  <a:schemeClr val="bg1"/>
                </a:solidFill>
              </a:rPr>
              <a:t>Portfolio and benchmark returns are not for the complete month of September 2021. Starts at 6 September 2021 (inception). Benchmark YTD is since inception.</a:t>
            </a: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171450" indent="-171450">
              <a:buFont typeface="Arial" panose="020B0604020202020204" pitchFamily="34" charset="0"/>
              <a:buChar char="•"/>
            </a:pP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All returns stated have been calculated based on net asset values, including reinvestment of dividends where applicable. Past performance is not a reliable indicator of future performance.</a:t>
            </a:r>
            <a:endParaRPr kumimoji="0" lang="en-ZA" sz="7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aphicFrame>
        <p:nvGraphicFramePr>
          <p:cNvPr id="1044" name="MONTHLY_RETURNS_TABLE">
            <a:extLst>
              <a:ext uri="{FF2B5EF4-FFF2-40B4-BE49-F238E27FC236}">
                <a16:creationId xmlns:a16="http://schemas.microsoft.com/office/drawing/2014/main" id="{1F6E4154-5923-4BB1-E4D7-B973F8027170}"/>
              </a:ext>
            </a:extLst>
          </p:cNvPr>
          <p:cNvGraphicFramePr>
            <a:graphicFrameLocks noGrp="1"/>
          </p:cNvGraphicFramePr>
          <p:nvPr>
            <p:extLst>
              <p:ext uri="{D42A27DB-BD31-4B8C-83A1-F6EECF244321}">
                <p14:modId xmlns:p14="http://schemas.microsoft.com/office/powerpoint/2010/main" val="3208698559"/>
              </p:ext>
            </p:extLst>
          </p:nvPr>
        </p:nvGraphicFramePr>
        <p:xfrm>
          <a:off x="435172" y="7159133"/>
          <a:ext cx="5987656" cy="2008511"/>
        </p:xfrm>
        <a:graphic>
          <a:graphicData uri="http://schemas.openxmlformats.org/drawingml/2006/table">
            <a:tbl>
              <a:tblPr firstRow="1" bandRow="1">
                <a:tableStyleId>{00A15C55-8517-42AA-B614-E9B94910E393}</a:tableStyleId>
              </a:tblPr>
              <a:tblGrid>
                <a:gridCol w="948120">
                  <a:extLst>
                    <a:ext uri="{9D8B030D-6E8A-4147-A177-3AD203B41FA5}">
                      <a16:colId xmlns:a16="http://schemas.microsoft.com/office/drawing/2014/main" val="896788362"/>
                    </a:ext>
                  </a:extLst>
                </a:gridCol>
                <a:gridCol w="420970">
                  <a:extLst>
                    <a:ext uri="{9D8B030D-6E8A-4147-A177-3AD203B41FA5}">
                      <a16:colId xmlns:a16="http://schemas.microsoft.com/office/drawing/2014/main" val="3261703524"/>
                    </a:ext>
                  </a:extLst>
                </a:gridCol>
                <a:gridCol w="382056">
                  <a:extLst>
                    <a:ext uri="{9D8B030D-6E8A-4147-A177-3AD203B41FA5}">
                      <a16:colId xmlns:a16="http://schemas.microsoft.com/office/drawing/2014/main" val="2988750767"/>
                    </a:ext>
                  </a:extLst>
                </a:gridCol>
                <a:gridCol w="404482">
                  <a:extLst>
                    <a:ext uri="{9D8B030D-6E8A-4147-A177-3AD203B41FA5}">
                      <a16:colId xmlns:a16="http://schemas.microsoft.com/office/drawing/2014/main" val="3491355810"/>
                    </a:ext>
                  </a:extLst>
                </a:gridCol>
                <a:gridCol w="361950">
                  <a:extLst>
                    <a:ext uri="{9D8B030D-6E8A-4147-A177-3AD203B41FA5}">
                      <a16:colId xmlns:a16="http://schemas.microsoft.com/office/drawing/2014/main" val="1887057036"/>
                    </a:ext>
                  </a:extLst>
                </a:gridCol>
                <a:gridCol w="352425">
                  <a:extLst>
                    <a:ext uri="{9D8B030D-6E8A-4147-A177-3AD203B41FA5}">
                      <a16:colId xmlns:a16="http://schemas.microsoft.com/office/drawing/2014/main" val="2724548086"/>
                    </a:ext>
                  </a:extLst>
                </a:gridCol>
                <a:gridCol w="412028">
                  <a:extLst>
                    <a:ext uri="{9D8B030D-6E8A-4147-A177-3AD203B41FA5}">
                      <a16:colId xmlns:a16="http://schemas.microsoft.com/office/drawing/2014/main" val="3163421287"/>
                    </a:ext>
                  </a:extLst>
                </a:gridCol>
                <a:gridCol w="364368">
                  <a:extLst>
                    <a:ext uri="{9D8B030D-6E8A-4147-A177-3AD203B41FA5}">
                      <a16:colId xmlns:a16="http://schemas.microsoft.com/office/drawing/2014/main" val="2398919590"/>
                    </a:ext>
                  </a:extLst>
                </a:gridCol>
                <a:gridCol w="382056">
                  <a:extLst>
                    <a:ext uri="{9D8B030D-6E8A-4147-A177-3AD203B41FA5}">
                      <a16:colId xmlns:a16="http://schemas.microsoft.com/office/drawing/2014/main" val="1052940757"/>
                    </a:ext>
                  </a:extLst>
                </a:gridCol>
                <a:gridCol w="340349">
                  <a:extLst>
                    <a:ext uri="{9D8B030D-6E8A-4147-A177-3AD203B41FA5}">
                      <a16:colId xmlns:a16="http://schemas.microsoft.com/office/drawing/2014/main" val="623188744"/>
                    </a:ext>
                  </a:extLst>
                </a:gridCol>
                <a:gridCol w="349518">
                  <a:extLst>
                    <a:ext uri="{9D8B030D-6E8A-4147-A177-3AD203B41FA5}">
                      <a16:colId xmlns:a16="http://schemas.microsoft.com/office/drawing/2014/main" val="2515961813"/>
                    </a:ext>
                  </a:extLst>
                </a:gridCol>
                <a:gridCol w="420970">
                  <a:extLst>
                    <a:ext uri="{9D8B030D-6E8A-4147-A177-3AD203B41FA5}">
                      <a16:colId xmlns:a16="http://schemas.microsoft.com/office/drawing/2014/main" val="1987366053"/>
                    </a:ext>
                  </a:extLst>
                </a:gridCol>
                <a:gridCol w="351421">
                  <a:extLst>
                    <a:ext uri="{9D8B030D-6E8A-4147-A177-3AD203B41FA5}">
                      <a16:colId xmlns:a16="http://schemas.microsoft.com/office/drawing/2014/main" val="3039303453"/>
                    </a:ext>
                  </a:extLst>
                </a:gridCol>
                <a:gridCol w="496943">
                  <a:extLst>
                    <a:ext uri="{9D8B030D-6E8A-4147-A177-3AD203B41FA5}">
                      <a16:colId xmlns:a16="http://schemas.microsoft.com/office/drawing/2014/main" val="867294964"/>
                    </a:ext>
                  </a:extLst>
                </a:gridCol>
              </a:tblGrid>
              <a:tr h="195558">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Ye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Jan</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Feb</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dirty="0">
                          <a:solidFill>
                            <a:schemeClr val="bg1"/>
                          </a:solidFill>
                          <a:latin typeface="Bierstadt" panose="020B0004020202020204" pitchFamily="34" charset="0"/>
                          <a:ea typeface="Yu Gothic Light" panose="020B0300000000000000" pitchFamily="34" charset="-128"/>
                          <a:cs typeface="Helvetica" panose="020B0604020202020204"/>
                        </a:rPr>
                        <a:t>M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Apr</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May</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Jun</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Jul</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Aug</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Sep</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Oct</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Nov</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Dec</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FY/YTD</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541953838"/>
                  </a:ext>
                </a:extLst>
              </a:tr>
              <a:tr h="182520">
                <a:tc>
                  <a:txBody>
                    <a:bodyPr/>
                    <a:lstStyle/>
                    <a:p>
                      <a:pPr algn="ctr"/>
                      <a:r>
                        <a:rPr lang="en-US" sz="600" b="0">
                          <a:solidFill>
                            <a:schemeClr val="bg1"/>
                          </a:solidFill>
                          <a:latin typeface="Bierstadt" panose="020B0004020202020204" pitchFamily="34" charset="0"/>
                          <a:ea typeface="Yu Gothic Light" panose="020B0300000000000000" pitchFamily="34" charset="-128"/>
                          <a:cs typeface="Helvetica" panose="020B0604020202020204"/>
                        </a:rPr>
                        <a:t>2021</a:t>
                      </a:r>
                      <a:endParaRPr lang="en-ZA" sz="600" b="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1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7.0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3.52%</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967875"/>
                  </a:ext>
                </a:extLst>
              </a:tr>
              <a:tr h="182520">
                <a:tc>
                  <a:txBody>
                    <a:bodyPr/>
                    <a:lstStyle/>
                    <a:p>
                      <a:pPr algn="ctr"/>
                      <a:r>
                        <a:rPr lang="en-US" sz="600" b="0" dirty="0">
                          <a:solidFill>
                            <a:schemeClr val="bg1"/>
                          </a:solidFill>
                          <a:latin typeface="Bierstadt" panose="020B0004020202020204" pitchFamily="34" charset="0"/>
                          <a:ea typeface="Yu Gothic Light" panose="020B0300000000000000" pitchFamily="34" charset="-128"/>
                          <a:cs typeface="Helvetica" panose="020B0604020202020204"/>
                        </a:rPr>
                        <a:t>Benchmark</a:t>
                      </a:r>
                      <a:endParaRPr lang="en-ZA" sz="600" b="0" dirty="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5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48378"/>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2</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9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7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6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3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1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6.6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22.17%</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631251"/>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1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3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3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39%</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746856"/>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3</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3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6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8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3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1.1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1.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4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0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3.92%</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5735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22.27%</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1266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8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3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1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9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0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3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5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0.1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7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7.7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0.1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810567"/>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0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45%</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003448"/>
                  </a:ext>
                </a:extLst>
              </a:tr>
              <a:tr h="169483">
                <a:tc>
                  <a:txBody>
                    <a:bodyPr/>
                    <a:lstStyle/>
                    <a:p>
                      <a:pPr algn="ctr"/>
                      <a:r>
                        <a:rPr lang="en-ZA" sz="600" b="0" dirty="0">
                          <a:solidFill>
                            <a:schemeClr val="bg1"/>
                          </a:solidFill>
                          <a:latin typeface="Bierstadt" panose="020B0004020202020204" pitchFamily="34" charset="0"/>
                          <a:ea typeface="Yu Gothic Light" panose="020B0300000000000000" pitchFamily="34" charset="-128"/>
                          <a:cs typeface="Helvetica" panose="020B0604020202020204"/>
                        </a:rPr>
                        <a:t>2025</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2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9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4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0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0.34%</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0.32%</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2.6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72681915"/>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1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3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6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0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2.6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3.6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5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943505122"/>
                  </a:ext>
                </a:extLst>
              </a:tr>
            </a:tbl>
          </a:graphicData>
        </a:graphic>
      </p:graphicFrame>
      <p:cxnSp>
        <p:nvCxnSpPr>
          <p:cNvPr id="1115" name="Straight Connector 1114">
            <a:extLst>
              <a:ext uri="{FF2B5EF4-FFF2-40B4-BE49-F238E27FC236}">
                <a16:creationId xmlns:a16="http://schemas.microsoft.com/office/drawing/2014/main" id="{115A132D-87C4-229E-D72B-7612E9001D6C}"/>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117" name="Group 1116">
            <a:extLst>
              <a:ext uri="{FF2B5EF4-FFF2-40B4-BE49-F238E27FC236}">
                <a16:creationId xmlns:a16="http://schemas.microsoft.com/office/drawing/2014/main" id="{1044B7A8-B9D0-329C-C0BD-AF0C9E0CC069}"/>
              </a:ext>
            </a:extLst>
          </p:cNvPr>
          <p:cNvGrpSpPr/>
          <p:nvPr/>
        </p:nvGrpSpPr>
        <p:grpSpPr>
          <a:xfrm>
            <a:off x="3483000" y="1024666"/>
            <a:ext cx="3082392" cy="232459"/>
            <a:chOff x="292608" y="1013780"/>
            <a:chExt cx="3082392" cy="232459"/>
          </a:xfrm>
        </p:grpSpPr>
        <p:cxnSp>
          <p:nvCxnSpPr>
            <p:cNvPr id="1118" name="Straight Connector 1117">
              <a:extLst>
                <a:ext uri="{FF2B5EF4-FFF2-40B4-BE49-F238E27FC236}">
                  <a16:creationId xmlns:a16="http://schemas.microsoft.com/office/drawing/2014/main" id="{7FFFBDED-BF3F-749A-FE21-9CADD728275E}"/>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9F902DF6-F73C-67CF-1296-059991C712C5}"/>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information</a:t>
              </a:r>
              <a:endParaRPr lang="en-GB" sz="1000" b="1" dirty="0">
                <a:solidFill>
                  <a:schemeClr val="bg1"/>
                </a:solidFill>
                <a:latin typeface="Bierstadt"/>
              </a:endParaRPr>
            </a:p>
          </p:txBody>
        </p:sp>
      </p:grpSp>
      <p:sp>
        <p:nvSpPr>
          <p:cNvPr id="1120" name="TextBox 1119">
            <a:extLst>
              <a:ext uri="{FF2B5EF4-FFF2-40B4-BE49-F238E27FC236}">
                <a16:creationId xmlns:a16="http://schemas.microsoft.com/office/drawing/2014/main" id="{BD05C90F-3044-8DC2-CC91-3E39100F309F}"/>
              </a:ext>
            </a:extLst>
          </p:cNvPr>
          <p:cNvSpPr txBox="1"/>
          <p:nvPr/>
        </p:nvSpPr>
        <p:spPr>
          <a:xfrm>
            <a:off x="3527229" y="1480484"/>
            <a:ext cx="154269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Risk profi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bg1"/>
              </a:solidFill>
              <a:effectLst/>
              <a:uLnTx/>
              <a:uFillTx/>
              <a:latin typeface="Bierstadt" panose="020B0004020202020204" pitchFamily="34" charset="0"/>
            </a:endParaRPr>
          </a:p>
        </p:txBody>
      </p:sp>
      <p:graphicFrame>
        <p:nvGraphicFramePr>
          <p:cNvPr id="1121" name="Table 16">
            <a:extLst>
              <a:ext uri="{FF2B5EF4-FFF2-40B4-BE49-F238E27FC236}">
                <a16:creationId xmlns:a16="http://schemas.microsoft.com/office/drawing/2014/main" id="{A72A4B91-670B-1D9D-AB8F-5B6D9C904020}"/>
              </a:ext>
            </a:extLst>
          </p:cNvPr>
          <p:cNvGraphicFramePr>
            <a:graphicFrameLocks noGrp="1"/>
          </p:cNvGraphicFramePr>
          <p:nvPr>
            <p:extLst>
              <p:ext uri="{D42A27DB-BD31-4B8C-83A1-F6EECF244321}">
                <p14:modId xmlns:p14="http://schemas.microsoft.com/office/powerpoint/2010/main" val="162677619"/>
              </p:ext>
            </p:extLst>
          </p:nvPr>
        </p:nvGraphicFramePr>
        <p:xfrm>
          <a:off x="4449425" y="1496815"/>
          <a:ext cx="1828800" cy="243840"/>
        </p:xfrm>
        <a:graphic>
          <a:graphicData uri="http://schemas.openxmlformats.org/drawingml/2006/table">
            <a:tbl>
              <a:tblPr firstRow="1" bandRow="1">
                <a:tableStyleId>{912C8C85-51F0-491E-9774-3900AFEF0FD7}</a:tableStyleId>
              </a:tblPr>
              <a:tblGrid>
                <a:gridCol w="365760">
                  <a:extLst>
                    <a:ext uri="{9D8B030D-6E8A-4147-A177-3AD203B41FA5}">
                      <a16:colId xmlns:a16="http://schemas.microsoft.com/office/drawing/2014/main" val="3324011243"/>
                    </a:ext>
                  </a:extLst>
                </a:gridCol>
                <a:gridCol w="365760">
                  <a:extLst>
                    <a:ext uri="{9D8B030D-6E8A-4147-A177-3AD203B41FA5}">
                      <a16:colId xmlns:a16="http://schemas.microsoft.com/office/drawing/2014/main" val="3190197823"/>
                    </a:ext>
                  </a:extLst>
                </a:gridCol>
                <a:gridCol w="365760">
                  <a:extLst>
                    <a:ext uri="{9D8B030D-6E8A-4147-A177-3AD203B41FA5}">
                      <a16:colId xmlns:a16="http://schemas.microsoft.com/office/drawing/2014/main" val="325901991"/>
                    </a:ext>
                  </a:extLst>
                </a:gridCol>
                <a:gridCol w="365760">
                  <a:extLst>
                    <a:ext uri="{9D8B030D-6E8A-4147-A177-3AD203B41FA5}">
                      <a16:colId xmlns:a16="http://schemas.microsoft.com/office/drawing/2014/main" val="398635762"/>
                    </a:ext>
                  </a:extLst>
                </a:gridCol>
                <a:gridCol w="365760">
                  <a:extLst>
                    <a:ext uri="{9D8B030D-6E8A-4147-A177-3AD203B41FA5}">
                      <a16:colId xmlns:a16="http://schemas.microsoft.com/office/drawing/2014/main" val="2426451187"/>
                    </a:ext>
                  </a:extLst>
                </a:gridCol>
              </a:tblGrid>
              <a:tr h="182880">
                <a:tc>
                  <a:txBody>
                    <a:bodyPr/>
                    <a:lstStyle/>
                    <a:p>
                      <a:pPr algn="ctr"/>
                      <a:r>
                        <a:rPr lang="en-US" sz="1000" b="0">
                          <a:solidFill>
                            <a:schemeClr val="bg1"/>
                          </a:solidFill>
                          <a:latin typeface="Helvetica" panose="020B0604020202020204" pitchFamily="34" charset="0"/>
                          <a:cs typeface="Helvetica" panose="020B0604020202020204" pitchFamily="34" charset="0"/>
                        </a:rPr>
                        <a:t>1</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a:solidFill>
                            <a:schemeClr val="bg1"/>
                          </a:solidFill>
                          <a:latin typeface="Helvetica" panose="020B0604020202020204" pitchFamily="34" charset="0"/>
                          <a:cs typeface="Helvetica" panose="020B0604020202020204" pitchFamily="34" charset="0"/>
                        </a:rPr>
                        <a:t>2</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3</a:t>
                      </a:r>
                      <a:endParaRPr lang="en-ZA" sz="1000" b="0" dirty="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1" dirty="0">
                          <a:solidFill>
                            <a:schemeClr val="bg1"/>
                          </a:solidFill>
                          <a:latin typeface="Helvetica" panose="020B0604020202020204" pitchFamily="34" charset="0"/>
                          <a:cs typeface="Helvetica" panose="020B0604020202020204" pitchFamily="34" charset="0"/>
                        </a:rPr>
                        <a:t>4</a:t>
                      </a:r>
                      <a:endParaRPr lang="en-ZA" sz="1000" b="1" dirty="0">
                        <a:solidFill>
                          <a:schemeClr val="bg1"/>
                        </a:solidFill>
                        <a:latin typeface="Helvetica" panose="020B0604020202020204" pitchFamily="34" charset="0"/>
                        <a:cs typeface="Helvetica" panose="020B0604020202020204" pitchFamily="34" charset="0"/>
                      </a:endParaRPr>
                    </a:p>
                  </a:txBody>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5</a:t>
                      </a:r>
                      <a:endParaRPr lang="en-ZA" sz="1000" b="0" dirty="0">
                        <a:solidFill>
                          <a:schemeClr val="bg1"/>
                        </a:solidFill>
                        <a:latin typeface="Helvetica" panose="020B0604020202020204" pitchFamily="34" charset="0"/>
                        <a:cs typeface="Helvetica" panose="020B0604020202020204" pitchFamily="34" charset="0"/>
                      </a:endParaRPr>
                    </a:p>
                  </a:txBody>
                  <a:tcPr>
                    <a:noFill/>
                  </a:tcPr>
                </a:tc>
                <a:extLst>
                  <a:ext uri="{0D108BD9-81ED-4DB2-BD59-A6C34878D82A}">
                    <a16:rowId xmlns:a16="http://schemas.microsoft.com/office/drawing/2014/main" val="2590197038"/>
                  </a:ext>
                </a:extLst>
              </a:tr>
            </a:tbl>
          </a:graphicData>
        </a:graphic>
      </p:graphicFrame>
      <p:sp>
        <p:nvSpPr>
          <p:cNvPr id="1128" name="TextBox 1127">
            <a:extLst>
              <a:ext uri="{FF2B5EF4-FFF2-40B4-BE49-F238E27FC236}">
                <a16:creationId xmlns:a16="http://schemas.microsoft.com/office/drawing/2014/main" id="{8CF1E5B6-87B7-F8D8-4569-2578C19CE7E7}"/>
              </a:ext>
            </a:extLst>
          </p:cNvPr>
          <p:cNvSpPr txBox="1"/>
          <p:nvPr/>
        </p:nvSpPr>
        <p:spPr>
          <a:xfrm>
            <a:off x="4377986" y="1273196"/>
            <a:ext cx="62719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Low</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9" name="TextBox 1128">
            <a:extLst>
              <a:ext uri="{FF2B5EF4-FFF2-40B4-BE49-F238E27FC236}">
                <a16:creationId xmlns:a16="http://schemas.microsoft.com/office/drawing/2014/main" id="{23652EF1-9108-5747-87F3-18A8404E720C}"/>
              </a:ext>
            </a:extLst>
          </p:cNvPr>
          <p:cNvSpPr txBox="1"/>
          <p:nvPr/>
        </p:nvSpPr>
        <p:spPr>
          <a:xfrm>
            <a:off x="5876128" y="1263104"/>
            <a:ext cx="65878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High</a:t>
            </a:r>
            <a:endParaRPr kumimoji="0" lang="en-ZA"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0" name="TextBox 1129">
            <a:extLst>
              <a:ext uri="{FF2B5EF4-FFF2-40B4-BE49-F238E27FC236}">
                <a16:creationId xmlns:a16="http://schemas.microsoft.com/office/drawing/2014/main" id="{41808883-77AC-2219-F048-85CA6077486F}"/>
              </a:ext>
            </a:extLst>
          </p:cNvPr>
          <p:cNvSpPr txBox="1"/>
          <p:nvPr/>
        </p:nvSpPr>
        <p:spPr>
          <a:xfrm>
            <a:off x="5005182" y="1274531"/>
            <a:ext cx="91440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Moderate</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1134" name="Group 1133">
            <a:extLst>
              <a:ext uri="{FF2B5EF4-FFF2-40B4-BE49-F238E27FC236}">
                <a16:creationId xmlns:a16="http://schemas.microsoft.com/office/drawing/2014/main" id="{F6E6E961-5D71-26C8-E226-D3661BE6E15B}"/>
              </a:ext>
            </a:extLst>
          </p:cNvPr>
          <p:cNvGrpSpPr/>
          <p:nvPr/>
        </p:nvGrpSpPr>
        <p:grpSpPr>
          <a:xfrm>
            <a:off x="3531992" y="1793130"/>
            <a:ext cx="2984409" cy="1339191"/>
            <a:chOff x="3529619" y="2021004"/>
            <a:chExt cx="2984409" cy="1339191"/>
          </a:xfrm>
        </p:grpSpPr>
        <p:sp>
          <p:nvSpPr>
            <p:cNvPr id="1122" name="TextBox 1121">
              <a:extLst>
                <a:ext uri="{FF2B5EF4-FFF2-40B4-BE49-F238E27FC236}">
                  <a16:creationId xmlns:a16="http://schemas.microsoft.com/office/drawing/2014/main" id="{8585F231-2C62-B0AE-B7B3-1BAB42484B03}"/>
                </a:ext>
              </a:extLst>
            </p:cNvPr>
            <p:cNvSpPr txBox="1"/>
            <p:nvPr/>
          </p:nvSpPr>
          <p:spPr>
            <a:xfrm>
              <a:off x="3531303" y="2322683"/>
              <a:ext cx="106892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463550" algn="l"/>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Inception da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Benchmark</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3" name="TextBox 1122">
              <a:extLst>
                <a:ext uri="{FF2B5EF4-FFF2-40B4-BE49-F238E27FC236}">
                  <a16:creationId xmlns:a16="http://schemas.microsoft.com/office/drawing/2014/main" id="{93390F13-D166-4162-3F1E-05D458B33940}"/>
                </a:ext>
              </a:extLst>
            </p:cNvPr>
            <p:cNvSpPr txBox="1"/>
            <p:nvPr/>
          </p:nvSpPr>
          <p:spPr>
            <a:xfrm>
              <a:off x="5018209" y="2336574"/>
              <a:ext cx="106892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Bierstadt" panose="020B0004020202020204" pitchFamily="34" charset="0"/>
                  <a:cs typeface="Helvetica" panose="020B0604020202020204" pitchFamily="34" charset="0"/>
                </a:rPr>
                <a:t>6</a:t>
              </a: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 Sep 2021</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endParaRPr>
            </a:p>
          </p:txBody>
        </p:sp>
        <p:sp>
          <p:nvSpPr>
            <p:cNvPr id="1124" name="BENCH_NAME">
              <a:extLst>
                <a:ext uri="{FF2B5EF4-FFF2-40B4-BE49-F238E27FC236}">
                  <a16:creationId xmlns:a16="http://schemas.microsoft.com/office/drawing/2014/main" id="{EE16854C-077E-8B7B-0CA5-E7BAA77A83E3}"/>
                </a:ext>
              </a:extLst>
            </p:cNvPr>
            <p:cNvSpPr txBox="1"/>
            <p:nvPr/>
          </p:nvSpPr>
          <p:spPr>
            <a:xfrm>
              <a:off x="5035140" y="2610906"/>
              <a:ext cx="87682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ACWI</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endParaRPr>
            </a:p>
          </p:txBody>
        </p:sp>
        <p:sp>
          <p:nvSpPr>
            <p:cNvPr id="1125" name="TextBox 1124">
              <a:extLst>
                <a:ext uri="{FF2B5EF4-FFF2-40B4-BE49-F238E27FC236}">
                  <a16:creationId xmlns:a16="http://schemas.microsoft.com/office/drawing/2014/main" id="{56C16C64-D8C9-F3AD-38F2-00DFE3100BB3}"/>
                </a:ext>
              </a:extLst>
            </p:cNvPr>
            <p:cNvSpPr txBox="1"/>
            <p:nvPr/>
          </p:nvSpPr>
          <p:spPr>
            <a:xfrm>
              <a:off x="3533519" y="2845990"/>
              <a:ext cx="136159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Portfolio denomination</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6" name="TextBox 1125">
              <a:extLst>
                <a:ext uri="{FF2B5EF4-FFF2-40B4-BE49-F238E27FC236}">
                  <a16:creationId xmlns:a16="http://schemas.microsoft.com/office/drawing/2014/main" id="{70F2B244-9C00-F88B-7655-C7F1E159FA21}"/>
                </a:ext>
              </a:extLst>
            </p:cNvPr>
            <p:cNvSpPr txBox="1"/>
            <p:nvPr/>
          </p:nvSpPr>
          <p:spPr>
            <a:xfrm>
              <a:off x="5218146" y="2859128"/>
              <a:ext cx="47323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USD </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7" name="TextBox 1126">
              <a:extLst>
                <a:ext uri="{FF2B5EF4-FFF2-40B4-BE49-F238E27FC236}">
                  <a16:creationId xmlns:a16="http://schemas.microsoft.com/office/drawing/2014/main" id="{196B4DFA-4EC6-D389-607B-00BFE9D71E6C}"/>
                </a:ext>
              </a:extLst>
            </p:cNvPr>
            <p:cNvSpPr txBox="1"/>
            <p:nvPr/>
          </p:nvSpPr>
          <p:spPr>
            <a:xfrm>
              <a:off x="3529619" y="2027063"/>
              <a:ext cx="120696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Portfolio structure</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1" name="TextBox 1130">
              <a:extLst>
                <a:ext uri="{FF2B5EF4-FFF2-40B4-BE49-F238E27FC236}">
                  <a16:creationId xmlns:a16="http://schemas.microsoft.com/office/drawing/2014/main" id="{3111AED9-6429-2608-940E-46E70B879D65}"/>
                </a:ext>
              </a:extLst>
            </p:cNvPr>
            <p:cNvSpPr txBox="1"/>
            <p:nvPr/>
          </p:nvSpPr>
          <p:spPr>
            <a:xfrm>
              <a:off x="4643301" y="2021004"/>
              <a:ext cx="18707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Discretionary/Direct ownership</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2" name="TextBox 1131">
              <a:extLst>
                <a:ext uri="{FF2B5EF4-FFF2-40B4-BE49-F238E27FC236}">
                  <a16:creationId xmlns:a16="http://schemas.microsoft.com/office/drawing/2014/main" id="{04BBF164-6973-A07B-B1B2-CED2F4CC5011}"/>
                </a:ext>
              </a:extLst>
            </p:cNvPr>
            <p:cNvSpPr txBox="1"/>
            <p:nvPr/>
          </p:nvSpPr>
          <p:spPr>
            <a:xfrm>
              <a:off x="3533656" y="3129363"/>
              <a:ext cx="1162314" cy="230832"/>
            </a:xfrm>
            <a:prstGeom prst="rect">
              <a:avLst/>
            </a:prstGeom>
            <a:noFill/>
          </p:spPr>
          <p:txBody>
            <a:bodyPr wrap="square" rtlCol="0">
              <a:spAutoFit/>
            </a:bodyPr>
            <a:lstStyle/>
            <a:p>
              <a:r>
                <a:rPr lang="en-US" sz="900">
                  <a:solidFill>
                    <a:schemeClr val="bg1"/>
                  </a:solidFill>
                  <a:latin typeface="Bierstadt" panose="020B0004020202020204" pitchFamily="34" charset="0"/>
                  <a:cs typeface="Helvetica" panose="020B0604020202020204" pitchFamily="34" charset="0"/>
                </a:rPr>
                <a:t>Management fee</a:t>
              </a:r>
              <a:endParaRPr lang="en-ZA" sz="900">
                <a:solidFill>
                  <a:schemeClr val="bg1"/>
                </a:solidFill>
                <a:latin typeface="Bierstadt" panose="020B0004020202020204" pitchFamily="34" charset="0"/>
                <a:cs typeface="Helvetica" panose="020B0604020202020204" pitchFamily="34" charset="0"/>
              </a:endParaRPr>
            </a:p>
          </p:txBody>
        </p:sp>
        <p:sp>
          <p:nvSpPr>
            <p:cNvPr id="1133" name="TextBox 1132">
              <a:extLst>
                <a:ext uri="{FF2B5EF4-FFF2-40B4-BE49-F238E27FC236}">
                  <a16:creationId xmlns:a16="http://schemas.microsoft.com/office/drawing/2014/main" id="{A74CE2D0-34DD-CD08-9788-548F5D2157C0}"/>
                </a:ext>
              </a:extLst>
            </p:cNvPr>
            <p:cNvSpPr txBox="1"/>
            <p:nvPr/>
          </p:nvSpPr>
          <p:spPr>
            <a:xfrm>
              <a:off x="4877544" y="3123995"/>
              <a:ext cx="1318471" cy="230832"/>
            </a:xfrm>
            <a:prstGeom prst="rect">
              <a:avLst/>
            </a:prstGeom>
            <a:noFill/>
          </p:spPr>
          <p:txBody>
            <a:bodyPr wrap="square" lIns="91440" tIns="45720" rIns="91440" bIns="45720" rtlCol="0" anchor="t">
              <a:spAutoFit/>
            </a:bodyPr>
            <a:lstStyle/>
            <a:p>
              <a:r>
                <a:rPr lang="en-ZA" sz="900" dirty="0">
                  <a:solidFill>
                    <a:schemeClr val="bg1"/>
                  </a:solidFill>
                  <a:latin typeface="Bierstadt" panose="020B0004020202020204" pitchFamily="34" charset="0"/>
                  <a:cs typeface="Helvetica"/>
                </a:rPr>
                <a:t>1% p.a. incl. VAT</a:t>
              </a:r>
            </a:p>
          </p:txBody>
        </p:sp>
      </p:grpSp>
      <p:grpSp>
        <p:nvGrpSpPr>
          <p:cNvPr id="3" name="Group 2">
            <a:extLst>
              <a:ext uri="{FF2B5EF4-FFF2-40B4-BE49-F238E27FC236}">
                <a16:creationId xmlns:a16="http://schemas.microsoft.com/office/drawing/2014/main" id="{D614AE55-CE52-F6FE-3408-DD2429B55CC5}"/>
              </a:ext>
            </a:extLst>
          </p:cNvPr>
          <p:cNvGrpSpPr/>
          <p:nvPr/>
        </p:nvGrpSpPr>
        <p:grpSpPr>
          <a:xfrm>
            <a:off x="3483000" y="5109925"/>
            <a:ext cx="3082392" cy="232459"/>
            <a:chOff x="3483000" y="5134309"/>
            <a:chExt cx="3082392" cy="232459"/>
          </a:xfrm>
        </p:grpSpPr>
        <p:cxnSp>
          <p:nvCxnSpPr>
            <p:cNvPr id="1136" name="Straight Connector 1135">
              <a:extLst>
                <a:ext uri="{FF2B5EF4-FFF2-40B4-BE49-F238E27FC236}">
                  <a16:creationId xmlns:a16="http://schemas.microsoft.com/office/drawing/2014/main" id="{A9061FFE-B890-DF0E-40BB-8D02D5A96E57}"/>
                </a:ext>
              </a:extLst>
            </p:cNvPr>
            <p:cNvCxnSpPr/>
            <p:nvPr/>
          </p:nvCxnSpPr>
          <p:spPr>
            <a:xfrm>
              <a:off x="3483000" y="5366768"/>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37" name="Rectangle 1136">
              <a:extLst>
                <a:ext uri="{FF2B5EF4-FFF2-40B4-BE49-F238E27FC236}">
                  <a16:creationId xmlns:a16="http://schemas.microsoft.com/office/drawing/2014/main" id="{1741FC84-33AD-5D98-8545-516330A7EF3C}"/>
                </a:ext>
              </a:extLst>
            </p:cNvPr>
            <p:cNvSpPr/>
            <p:nvPr/>
          </p:nvSpPr>
          <p:spPr>
            <a:xfrm>
              <a:off x="3483000" y="5134309"/>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volatility</a:t>
              </a:r>
              <a:endParaRPr lang="en-GB" sz="1000" b="1" dirty="0">
                <a:solidFill>
                  <a:schemeClr val="bg1"/>
                </a:solidFill>
                <a:latin typeface="Bierstadt"/>
              </a:endParaRPr>
            </a:p>
          </p:txBody>
        </p:sp>
      </p:grpSp>
      <p:graphicFrame>
        <p:nvGraphicFramePr>
          <p:cNvPr id="1148" name="TOP_HOLDINGS_TABLE">
            <a:extLst>
              <a:ext uri="{FF2B5EF4-FFF2-40B4-BE49-F238E27FC236}">
                <a16:creationId xmlns:a16="http://schemas.microsoft.com/office/drawing/2014/main" id="{5892CF8A-F628-EC82-4DEE-32CF5B7A9034}"/>
              </a:ext>
            </a:extLst>
          </p:cNvPr>
          <p:cNvGraphicFramePr>
            <a:graphicFrameLocks noGrp="1"/>
          </p:cNvGraphicFramePr>
          <p:nvPr>
            <p:extLst>
              <p:ext uri="{D42A27DB-BD31-4B8C-83A1-F6EECF244321}">
                <p14:modId xmlns:p14="http://schemas.microsoft.com/office/powerpoint/2010/main" val="4261827884"/>
              </p:ext>
            </p:extLst>
          </p:nvPr>
        </p:nvGraphicFramePr>
        <p:xfrm>
          <a:off x="3561468" y="3482530"/>
          <a:ext cx="2925456" cy="1596144"/>
        </p:xfrm>
        <a:graphic>
          <a:graphicData uri="http://schemas.openxmlformats.org/drawingml/2006/table">
            <a:tbl>
              <a:tblPr firstRow="1" bandRow="1">
                <a:tableStyleId>{C083E6E3-FA7D-4D7B-A595-EF9225AFEA82}</a:tableStyleId>
              </a:tblPr>
              <a:tblGrid>
                <a:gridCol w="2218768">
                  <a:extLst>
                    <a:ext uri="{9D8B030D-6E8A-4147-A177-3AD203B41FA5}">
                      <a16:colId xmlns:a16="http://schemas.microsoft.com/office/drawing/2014/main" val="878762420"/>
                    </a:ext>
                  </a:extLst>
                </a:gridCol>
                <a:gridCol w="706688">
                  <a:extLst>
                    <a:ext uri="{9D8B030D-6E8A-4147-A177-3AD203B41FA5}">
                      <a16:colId xmlns:a16="http://schemas.microsoft.com/office/drawing/2014/main" val="646333369"/>
                    </a:ext>
                  </a:extLst>
                </a:gridCol>
              </a:tblGrid>
              <a:tr h="266024">
                <a:tc>
                  <a:txBody>
                    <a:bodyPr/>
                    <a:lstStyle/>
                    <a:p>
                      <a:r>
                        <a:rPr lang="en-GB" sz="900" dirty="0">
                          <a:solidFill>
                            <a:schemeClr val="bg1"/>
                          </a:solidFill>
                          <a:latin typeface="Bierstadt" panose="020B0004020202020204" pitchFamily="34" charset="0"/>
                        </a:rPr>
                        <a:t>Name</a:t>
                      </a:r>
                    </a:p>
                  </a:txBody>
                  <a:tcPr marL="36000" marR="36000"/>
                </a:tc>
                <a:tc>
                  <a:txBody>
                    <a:bodyPr/>
                    <a:lstStyle/>
                    <a:p>
                      <a:pPr algn="ctr"/>
                      <a:r>
                        <a:rPr lang="en-GB" sz="900" dirty="0">
                          <a:solidFill>
                            <a:schemeClr val="bg1"/>
                          </a:solidFill>
                          <a:latin typeface="Bierstadt" panose="020B0004020202020204" pitchFamily="34" charset="0"/>
                        </a:rPr>
                        <a:t>% of NAV</a:t>
                      </a:r>
                    </a:p>
                  </a:txBody>
                  <a:tcPr/>
                </a:tc>
                <a:extLst>
                  <a:ext uri="{0D108BD9-81ED-4DB2-BD59-A6C34878D82A}">
                    <a16:rowId xmlns:a16="http://schemas.microsoft.com/office/drawing/2014/main" val="2235101578"/>
                  </a:ext>
                </a:extLst>
              </a:tr>
              <a:tr h="266024">
                <a:tc>
                  <a:txBody>
                    <a:bodyPr/>
                    <a:lstStyle/>
                    <a:p>
                      <a:r>
                        <a:rPr lang="en-GB" sz="900" dirty="0">
                          <a:solidFill>
                            <a:schemeClr val="bg1"/>
                          </a:solidFill>
                          <a:latin typeface="Bierstadt" panose="020B0004020202020204" pitchFamily="34" charset="0"/>
                        </a:rPr>
                        <a:t>NVIDIA</a:t>
                      </a:r>
                    </a:p>
                  </a:txBody>
                  <a:tcPr marL="36000" marR="36000" anchor="ctr"/>
                </a:tc>
                <a:tc>
                  <a:txBody>
                    <a:bodyPr/>
                    <a:lstStyle/>
                    <a:p>
                      <a:pPr algn="ctr"/>
                      <a:r>
                        <a:rPr lang="en-GB" sz="900" dirty="0">
                          <a:solidFill>
                            <a:schemeClr val="bg1"/>
                          </a:solidFill>
                          <a:latin typeface="Bierstadt" panose="020B0004020202020204" pitchFamily="34" charset="0"/>
                        </a:rPr>
                        <a:t>8.44%</a:t>
                      </a:r>
                    </a:p>
                  </a:txBody>
                  <a:tcPr anchor="ctr"/>
                </a:tc>
                <a:extLst>
                  <a:ext uri="{0D108BD9-81ED-4DB2-BD59-A6C34878D82A}">
                    <a16:rowId xmlns:a16="http://schemas.microsoft.com/office/drawing/2014/main" val="1455314511"/>
                  </a:ext>
                </a:extLst>
              </a:tr>
              <a:tr h="266024">
                <a:tc>
                  <a:txBody>
                    <a:bodyPr/>
                    <a:lstStyle/>
                    <a:p>
                      <a:r>
                        <a:rPr lang="en-GB" sz="900" dirty="0">
                          <a:solidFill>
                            <a:schemeClr val="bg1"/>
                          </a:solidFill>
                          <a:latin typeface="Bierstadt" panose="020B0004020202020204" pitchFamily="34" charset="0"/>
                        </a:rPr>
                        <a:t>TSMC</a:t>
                      </a:r>
                    </a:p>
                  </a:txBody>
                  <a:tcPr marL="36000" marR="36000" anchor="ctr"/>
                </a:tc>
                <a:tc>
                  <a:txBody>
                    <a:bodyPr/>
                    <a:lstStyle/>
                    <a:p>
                      <a:pPr algn="ctr"/>
                      <a:r>
                        <a:rPr lang="en-GB" sz="900" dirty="0">
                          <a:solidFill>
                            <a:schemeClr val="bg1"/>
                          </a:solidFill>
                          <a:latin typeface="Bierstadt" panose="020B0004020202020204" pitchFamily="34" charset="0"/>
                        </a:rPr>
                        <a:t>7.74%</a:t>
                      </a:r>
                    </a:p>
                  </a:txBody>
                  <a:tcPr anchor="ctr"/>
                </a:tc>
                <a:extLst>
                  <a:ext uri="{0D108BD9-81ED-4DB2-BD59-A6C34878D82A}">
                    <a16:rowId xmlns:a16="http://schemas.microsoft.com/office/drawing/2014/main" val="3743326145"/>
                  </a:ext>
                </a:extLst>
              </a:tr>
              <a:tr h="266024">
                <a:tc>
                  <a:txBody>
                    <a:bodyPr/>
                    <a:lstStyle/>
                    <a:p>
                      <a:r>
                        <a:rPr lang="en-GB" sz="900" dirty="0">
                          <a:solidFill>
                            <a:schemeClr val="bg1"/>
                          </a:solidFill>
                          <a:latin typeface="Bierstadt" panose="020B0004020202020204" pitchFamily="34" charset="0"/>
                        </a:rPr>
                        <a:t>First Quantum</a:t>
                      </a:r>
                    </a:p>
                  </a:txBody>
                  <a:tcPr marL="36000" marR="36000" anchor="ctr"/>
                </a:tc>
                <a:tc>
                  <a:txBody>
                    <a:bodyPr/>
                    <a:lstStyle/>
                    <a:p>
                      <a:pPr algn="ctr"/>
                      <a:r>
                        <a:rPr lang="en-GB" sz="900" dirty="0">
                          <a:solidFill>
                            <a:schemeClr val="bg1"/>
                          </a:solidFill>
                          <a:latin typeface="Bierstadt" panose="020B0004020202020204" pitchFamily="34" charset="0"/>
                        </a:rPr>
                        <a:t>7.50%</a:t>
                      </a:r>
                    </a:p>
                  </a:txBody>
                  <a:tcPr anchor="ctr"/>
                </a:tc>
                <a:extLst>
                  <a:ext uri="{0D108BD9-81ED-4DB2-BD59-A6C34878D82A}">
                    <a16:rowId xmlns:a16="http://schemas.microsoft.com/office/drawing/2014/main" val="34337268"/>
                  </a:ext>
                </a:extLst>
              </a:tr>
              <a:tr h="266024">
                <a:tc>
                  <a:txBody>
                    <a:bodyPr/>
                    <a:lstStyle/>
                    <a:p>
                      <a:r>
                        <a:rPr lang="en-GB" sz="900" dirty="0">
                          <a:solidFill>
                            <a:schemeClr val="bg1"/>
                          </a:solidFill>
                          <a:latin typeface="Bierstadt" panose="020B0004020202020204" pitchFamily="34" charset="0"/>
                        </a:rPr>
                        <a:t>JPMorgan</a:t>
                      </a:r>
                    </a:p>
                  </a:txBody>
                  <a:tcPr marL="36000" marR="36000" anchor="ctr"/>
                </a:tc>
                <a:tc>
                  <a:txBody>
                    <a:bodyPr/>
                    <a:lstStyle/>
                    <a:p>
                      <a:pPr algn="ctr"/>
                      <a:r>
                        <a:rPr lang="en-GB" sz="900" dirty="0">
                          <a:solidFill>
                            <a:schemeClr val="bg1"/>
                          </a:solidFill>
                          <a:latin typeface="Bierstadt" panose="020B0004020202020204" pitchFamily="34" charset="0"/>
                        </a:rPr>
                        <a:t>7.36%</a:t>
                      </a:r>
                    </a:p>
                  </a:txBody>
                  <a:tcPr anchor="ctr"/>
                </a:tc>
                <a:extLst>
                  <a:ext uri="{0D108BD9-81ED-4DB2-BD59-A6C34878D82A}">
                    <a16:rowId xmlns:a16="http://schemas.microsoft.com/office/drawing/2014/main" val="3116781964"/>
                  </a:ext>
                </a:extLst>
              </a:tr>
              <a:tr h="266024">
                <a:tc>
                  <a:txBody>
                    <a:bodyPr/>
                    <a:lstStyle/>
                    <a:p>
                      <a:r>
                        <a:rPr lang="en-GB" sz="900" dirty="0">
                          <a:solidFill>
                            <a:schemeClr val="bg1"/>
                          </a:solidFill>
                          <a:latin typeface="Bierstadt" panose="020B0004020202020204" pitchFamily="34" charset="0"/>
                        </a:rPr>
                        <a:t>Meta</a:t>
                      </a:r>
                    </a:p>
                  </a:txBody>
                  <a:tcPr marL="36000" marR="36000" anchor="ctr"/>
                </a:tc>
                <a:tc>
                  <a:txBody>
                    <a:bodyPr/>
                    <a:lstStyle/>
                    <a:p>
                      <a:pPr algn="ctr"/>
                      <a:r>
                        <a:rPr lang="en-GB" sz="900" dirty="0">
                          <a:solidFill>
                            <a:schemeClr val="bg1"/>
                          </a:solidFill>
                          <a:latin typeface="Bierstadt" panose="020B0004020202020204" pitchFamily="34" charset="0"/>
                        </a:rPr>
                        <a:t>6.43%</a:t>
                      </a:r>
                    </a:p>
                  </a:txBody>
                  <a:tcPr anchor="ctr"/>
                </a:tc>
                <a:extLst>
                  <a:ext uri="{0D108BD9-81ED-4DB2-BD59-A6C34878D82A}">
                    <a16:rowId xmlns:a16="http://schemas.microsoft.com/office/drawing/2014/main" val="3350189937"/>
                  </a:ext>
                </a:extLst>
              </a:tr>
            </a:tbl>
          </a:graphicData>
        </a:graphic>
      </p:graphicFrame>
      <p:pic>
        <p:nvPicPr>
          <p:cNvPr id="1154" name="Picture 1153">
            <a:extLst>
              <a:ext uri="{FF2B5EF4-FFF2-40B4-BE49-F238E27FC236}">
                <a16:creationId xmlns:a16="http://schemas.microsoft.com/office/drawing/2014/main" id="{49B199E8-778D-2570-ADCC-BCC2EC8328F9}"/>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p:blipFill>
        <p:spPr>
          <a:xfrm>
            <a:off x="5185390" y="4313254"/>
            <a:ext cx="409089" cy="191932"/>
          </a:xfrm>
          <a:prstGeom prst="rect">
            <a:avLst/>
          </a:prstGeom>
        </p:spPr>
      </p:pic>
      <p:pic>
        <p:nvPicPr>
          <p:cNvPr id="1153" name="Picture 1152">
            <a:extLst>
              <a:ext uri="{FF2B5EF4-FFF2-40B4-BE49-F238E27FC236}">
                <a16:creationId xmlns:a16="http://schemas.microsoft.com/office/drawing/2014/main" id="{E16501DF-2F2C-91E3-C393-56BFE5D9703E}"/>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Lst>
          </a:blip>
          <a:stretch>
            <a:fillRect/>
          </a:stretch>
        </p:blipFill>
        <p:spPr>
          <a:xfrm>
            <a:off x="5128379" y="3858182"/>
            <a:ext cx="523112" cy="95905"/>
          </a:xfrm>
          <a:prstGeom prst="rect">
            <a:avLst/>
          </a:prstGeom>
        </p:spPr>
      </p:pic>
      <p:sp>
        <p:nvSpPr>
          <p:cNvPr id="5" name="Return since inception textbox">
            <a:extLst>
              <a:ext uri="{FF2B5EF4-FFF2-40B4-BE49-F238E27FC236}">
                <a16:creationId xmlns:a16="http://schemas.microsoft.com/office/drawing/2014/main" id="{FF8C9359-079B-6CB5-3198-486A750D758F}"/>
              </a:ext>
            </a:extLst>
          </p:cNvPr>
          <p:cNvSpPr/>
          <p:nvPr/>
        </p:nvSpPr>
        <p:spPr>
          <a:xfrm>
            <a:off x="364607"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return in USD </a:t>
            </a:r>
            <a:br>
              <a:rPr lang="en-GB" sz="700" dirty="0">
                <a:solidFill>
                  <a:schemeClr val="bg1"/>
                </a:solidFill>
              </a:rPr>
            </a:br>
            <a:r>
              <a:rPr lang="en-GB" sz="700" dirty="0">
                <a:solidFill>
                  <a:schemeClr val="bg1"/>
                </a:solidFill>
              </a:rPr>
              <a:t>since inception</a:t>
            </a:r>
            <a:endParaRPr lang="en-GB" sz="1000" b="1" dirty="0">
              <a:solidFill>
                <a:schemeClr val="bg1"/>
              </a:solidFill>
            </a:endParaRPr>
          </a:p>
        </p:txBody>
      </p:sp>
      <p:pic>
        <p:nvPicPr>
          <p:cNvPr id="1156" name="Picture 1155">
            <a:extLst>
              <a:ext uri="{FF2B5EF4-FFF2-40B4-BE49-F238E27FC236}">
                <a16:creationId xmlns:a16="http://schemas.microsoft.com/office/drawing/2014/main" id="{704277E7-DB22-E266-5D21-BD9C00F72855}"/>
              </a:ext>
            </a:extLst>
          </p:cNvPr>
          <p:cNvPicPr>
            <a:picLocks noChangeAspect="1"/>
          </p:cNvPicPr>
          <p:nvPr/>
        </p:nvPicPr>
        <p:blipFill>
          <a:blip r:embed="rId18"/>
          <a:srcRect l="28587" r="28587"/>
          <a:stretch>
            <a:fillRect/>
          </a:stretch>
        </p:blipFill>
        <p:spPr>
          <a:xfrm>
            <a:off x="5272617" y="4057954"/>
            <a:ext cx="234635" cy="182629"/>
          </a:xfrm>
          <a:prstGeom prst="rect">
            <a:avLst/>
          </a:prstGeom>
        </p:spPr>
      </p:pic>
      <p:pic>
        <p:nvPicPr>
          <p:cNvPr id="1157" name="Picture 1156">
            <a:extLst>
              <a:ext uri="{FF2B5EF4-FFF2-40B4-BE49-F238E27FC236}">
                <a16:creationId xmlns:a16="http://schemas.microsoft.com/office/drawing/2014/main" id="{B3FAC5A4-A457-C2FF-A22A-0BF707979552}"/>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Lst>
          </a:blip>
          <a:stretch>
            <a:fillRect/>
          </a:stretch>
        </p:blipFill>
        <p:spPr>
          <a:xfrm>
            <a:off x="5113390" y="4620541"/>
            <a:ext cx="553088" cy="113614"/>
          </a:xfrm>
          <a:prstGeom prst="rect">
            <a:avLst/>
          </a:prstGeom>
        </p:spPr>
      </p:pic>
      <p:pic>
        <p:nvPicPr>
          <p:cNvPr id="1158" name="Picture 1157">
            <a:extLst>
              <a:ext uri="{FF2B5EF4-FFF2-40B4-BE49-F238E27FC236}">
                <a16:creationId xmlns:a16="http://schemas.microsoft.com/office/drawing/2014/main" id="{002F52CE-9C6A-941E-158B-2E461D399CDF}"/>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5163456" y="4909910"/>
            <a:ext cx="452956" cy="91260"/>
          </a:xfrm>
          <a:prstGeom prst="rect">
            <a:avLst/>
          </a:prstGeom>
        </p:spPr>
      </p:pic>
      <p:sp>
        <p:nvSpPr>
          <p:cNvPr id="10" name="avg compounded yearly return since inception textbox">
            <a:extLst>
              <a:ext uri="{FF2B5EF4-FFF2-40B4-BE49-F238E27FC236}">
                <a16:creationId xmlns:a16="http://schemas.microsoft.com/office/drawing/2014/main" id="{5ACF03ED-94B4-9721-D6EE-2F6EAEB25292}"/>
              </a:ext>
            </a:extLst>
          </p:cNvPr>
          <p:cNvSpPr/>
          <p:nvPr/>
        </p:nvSpPr>
        <p:spPr>
          <a:xfrm>
            <a:off x="2371535"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Avg. </a:t>
            </a:r>
            <a:r>
              <a:rPr lang="en-US" sz="700" dirty="0">
                <a:solidFill>
                  <a:schemeClr val="bg1"/>
                </a:solidFill>
              </a:rPr>
              <a:t>compounded yearly</a:t>
            </a:r>
            <a:br>
              <a:rPr lang="en-US" sz="700" dirty="0">
                <a:solidFill>
                  <a:schemeClr val="bg1"/>
                </a:solidFill>
              </a:rPr>
            </a:br>
            <a:r>
              <a:rPr lang="en-US" sz="700" dirty="0">
                <a:solidFill>
                  <a:schemeClr val="bg1"/>
                </a:solidFill>
              </a:rPr>
              <a:t>return since inception</a:t>
            </a:r>
            <a:endParaRPr lang="en-GB" sz="900" b="1" dirty="0">
              <a:solidFill>
                <a:schemeClr val="bg1"/>
              </a:solidFill>
            </a:endParaRPr>
          </a:p>
        </p:txBody>
      </p:sp>
      <p:sp>
        <p:nvSpPr>
          <p:cNvPr id="9" name="YTD return textbox">
            <a:extLst>
              <a:ext uri="{FF2B5EF4-FFF2-40B4-BE49-F238E27FC236}">
                <a16:creationId xmlns:a16="http://schemas.microsoft.com/office/drawing/2014/main" id="{4F743491-8F3F-770B-A226-293C9C2C03FC}"/>
              </a:ext>
            </a:extLst>
          </p:cNvPr>
          <p:cNvSpPr/>
          <p:nvPr/>
        </p:nvSpPr>
        <p:spPr>
          <a:xfrm>
            <a:off x="1368071"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YTD return </a:t>
            </a:r>
            <a:br>
              <a:rPr lang="en-GB" sz="700" dirty="0">
                <a:solidFill>
                  <a:schemeClr val="bg1"/>
                </a:solidFill>
              </a:rPr>
            </a:br>
            <a:r>
              <a:rPr lang="en-GB" sz="700" dirty="0">
                <a:solidFill>
                  <a:schemeClr val="bg1"/>
                </a:solidFill>
              </a:rPr>
              <a:t>in USD</a:t>
            </a:r>
            <a:endParaRPr lang="en-GB" sz="1000" b="1" dirty="0">
              <a:solidFill>
                <a:schemeClr val="bg1"/>
              </a:solidFill>
            </a:endParaRPr>
          </a:p>
        </p:txBody>
      </p:sp>
      <p:graphicFrame>
        <p:nvGraphicFramePr>
          <p:cNvPr id="6" name="VOLATILITY_TABLE">
            <a:extLst>
              <a:ext uri="{FF2B5EF4-FFF2-40B4-BE49-F238E27FC236}">
                <a16:creationId xmlns:a16="http://schemas.microsoft.com/office/drawing/2014/main" id="{181714F8-70BB-E94C-F57D-21041F9D1C79}"/>
              </a:ext>
            </a:extLst>
          </p:cNvPr>
          <p:cNvGraphicFramePr>
            <a:graphicFrameLocks noGrp="1"/>
          </p:cNvGraphicFramePr>
          <p:nvPr>
            <p:extLst>
              <p:ext uri="{D42A27DB-BD31-4B8C-83A1-F6EECF244321}">
                <p14:modId xmlns:p14="http://schemas.microsoft.com/office/powerpoint/2010/main" val="388570663"/>
              </p:ext>
            </p:extLst>
          </p:nvPr>
        </p:nvGraphicFramePr>
        <p:xfrm>
          <a:off x="3561469" y="5410372"/>
          <a:ext cx="2925455" cy="1264804"/>
        </p:xfrm>
        <a:graphic>
          <a:graphicData uri="http://schemas.openxmlformats.org/drawingml/2006/table">
            <a:tbl>
              <a:tblPr firstRow="1" bandRow="1">
                <a:tableStyleId>{C083E6E3-FA7D-4D7B-A595-EF9225AFEA82}</a:tableStyleId>
              </a:tblPr>
              <a:tblGrid>
                <a:gridCol w="1205603">
                  <a:extLst>
                    <a:ext uri="{9D8B030D-6E8A-4147-A177-3AD203B41FA5}">
                      <a16:colId xmlns:a16="http://schemas.microsoft.com/office/drawing/2014/main" val="3093225150"/>
                    </a:ext>
                  </a:extLst>
                </a:gridCol>
                <a:gridCol w="859926">
                  <a:extLst>
                    <a:ext uri="{9D8B030D-6E8A-4147-A177-3AD203B41FA5}">
                      <a16:colId xmlns:a16="http://schemas.microsoft.com/office/drawing/2014/main" val="2083068548"/>
                    </a:ext>
                  </a:extLst>
                </a:gridCol>
                <a:gridCol w="859926">
                  <a:extLst>
                    <a:ext uri="{9D8B030D-6E8A-4147-A177-3AD203B41FA5}">
                      <a16:colId xmlns:a16="http://schemas.microsoft.com/office/drawing/2014/main" val="707442416"/>
                    </a:ext>
                  </a:extLst>
                </a:gridCol>
              </a:tblGrid>
              <a:tr h="237672">
                <a:tc>
                  <a:txBody>
                    <a:bodyPr/>
                    <a:lstStyle/>
                    <a:p>
                      <a:r>
                        <a:rPr lang="en-GB" sz="900" dirty="0">
                          <a:solidFill>
                            <a:schemeClr val="bg1"/>
                          </a:solidFill>
                          <a:latin typeface="Bierstadt" panose="020B0004020202020204" pitchFamily="34" charset="0"/>
                        </a:rPr>
                        <a:t>Metric</a:t>
                      </a:r>
                    </a:p>
                  </a:txBody>
                  <a:tcPr marL="36000" marR="36000"/>
                </a:tc>
                <a:tc>
                  <a:txBody>
                    <a:bodyPr/>
                    <a:lstStyle/>
                    <a:p>
                      <a:pPr algn="ctr"/>
                      <a:r>
                        <a:rPr lang="en-GB" sz="900" dirty="0">
                          <a:solidFill>
                            <a:schemeClr val="bg1"/>
                          </a:solidFill>
                          <a:latin typeface="Bierstadt" panose="020B0004020202020204" pitchFamily="34" charset="0"/>
                        </a:rPr>
                        <a:t>Portfolio</a:t>
                      </a:r>
                    </a:p>
                  </a:txBody>
                  <a:tcPr/>
                </a:tc>
                <a:tc>
                  <a:txBody>
                    <a:bodyPr/>
                    <a:lstStyle/>
                    <a:p>
                      <a:pPr algn="ctr"/>
                      <a:r>
                        <a:rPr lang="en-GB" sz="900" dirty="0">
                          <a:solidFill>
                            <a:schemeClr val="bg1"/>
                          </a:solidFill>
                          <a:latin typeface="Bierstadt" panose="020B0004020202020204" pitchFamily="34" charset="0"/>
                        </a:rPr>
                        <a:t>Benchmark</a:t>
                      </a:r>
                    </a:p>
                  </a:txBody>
                  <a:tcPr/>
                </a:tc>
                <a:extLst>
                  <a:ext uri="{0D108BD9-81ED-4DB2-BD59-A6C34878D82A}">
                    <a16:rowId xmlns:a16="http://schemas.microsoft.com/office/drawing/2014/main" val="3994823784"/>
                  </a:ext>
                </a:extLst>
              </a:tr>
              <a:tr h="323188">
                <a:tc>
                  <a:txBody>
                    <a:bodyPr/>
                    <a:lstStyle/>
                    <a:p>
                      <a:r>
                        <a:rPr lang="en-GB" sz="900" dirty="0">
                          <a:solidFill>
                            <a:schemeClr val="bg1"/>
                          </a:solidFill>
                          <a:latin typeface="Bierstadt" panose="020B0004020202020204" pitchFamily="34" charset="0"/>
                        </a:rPr>
                        <a:t>Mean monthly return</a:t>
                      </a:r>
                    </a:p>
                  </a:txBody>
                  <a:tcPr marL="36000" marR="36000" anchor="ctr"/>
                </a:tc>
                <a:tc>
                  <a:txBody>
                    <a:bodyPr/>
                    <a:lstStyle/>
                    <a:p>
                      <a:pPr algn="ctr"/>
                      <a:r>
                        <a:rPr lang="en-GB" sz="900" dirty="0">
                          <a:solidFill>
                            <a:schemeClr val="bg1"/>
                          </a:solidFill>
                          <a:latin typeface="Bierstadt" panose="020B0004020202020204" pitchFamily="34" charset="0"/>
                        </a:rPr>
                        <a:t>0.84%</a:t>
                      </a:r>
                    </a:p>
                  </a:txBody>
                  <a:tcPr anchor="ctr"/>
                </a:tc>
                <a:tc>
                  <a:txBody>
                    <a:bodyPr/>
                    <a:lstStyle/>
                    <a:p>
                      <a:pPr algn="ctr"/>
                      <a:r>
                        <a:rPr lang="en-GB" sz="900" dirty="0">
                          <a:solidFill>
                            <a:schemeClr val="bg1"/>
                          </a:solidFill>
                          <a:latin typeface="Bierstadt" panose="020B0004020202020204" pitchFamily="34" charset="0"/>
                        </a:rPr>
                        <a:t>0.80%</a:t>
                      </a:r>
                    </a:p>
                  </a:txBody>
                  <a:tcPr anchor="ctr"/>
                </a:tc>
                <a:extLst>
                  <a:ext uri="{0D108BD9-81ED-4DB2-BD59-A6C34878D82A}">
                    <a16:rowId xmlns:a16="http://schemas.microsoft.com/office/drawing/2014/main" val="3917662697"/>
                  </a:ext>
                </a:extLst>
              </a:tr>
              <a:tr h="237672">
                <a:tc>
                  <a:txBody>
                    <a:bodyPr/>
                    <a:lstStyle/>
                    <a:p>
                      <a:r>
                        <a:rPr lang="en-GB" sz="900" dirty="0">
                          <a:solidFill>
                            <a:schemeClr val="bg1"/>
                          </a:solidFill>
                          <a:latin typeface="Bierstadt" panose="020B0004020202020204" pitchFamily="34" charset="0"/>
                        </a:rPr>
                        <a:t>Std Dev (Monthly)</a:t>
                      </a:r>
                    </a:p>
                  </a:txBody>
                  <a:tcPr marL="36000" marR="36000" anchor="ctr"/>
                </a:tc>
                <a:tc>
                  <a:txBody>
                    <a:bodyPr/>
                    <a:lstStyle/>
                    <a:p>
                      <a:pPr algn="ctr"/>
                      <a:r>
                        <a:rPr lang="en-GB" sz="900" dirty="0">
                          <a:solidFill>
                            <a:schemeClr val="bg1"/>
                          </a:solidFill>
                          <a:latin typeface="Bierstadt" panose="020B0004020202020204" pitchFamily="34" charset="0"/>
                        </a:rPr>
                        <a:t>4.98%</a:t>
                      </a:r>
                    </a:p>
                  </a:txBody>
                  <a:tcPr anchor="ctr"/>
                </a:tc>
                <a:tc>
                  <a:txBody>
                    <a:bodyPr/>
                    <a:lstStyle/>
                    <a:p>
                      <a:pPr algn="ctr"/>
                      <a:r>
                        <a:rPr lang="en-GB" sz="900" dirty="0">
                          <a:solidFill>
                            <a:schemeClr val="bg1"/>
                          </a:solidFill>
                          <a:latin typeface="Bierstadt" panose="020B0004020202020204" pitchFamily="34" charset="0"/>
                        </a:rPr>
                        <a:t>4.50%</a:t>
                      </a:r>
                    </a:p>
                  </a:txBody>
                  <a:tcPr anchor="ctr"/>
                </a:tc>
                <a:extLst>
                  <a:ext uri="{0D108BD9-81ED-4DB2-BD59-A6C34878D82A}">
                    <a16:rowId xmlns:a16="http://schemas.microsoft.com/office/drawing/2014/main" val="3393200440"/>
                  </a:ext>
                </a:extLst>
              </a:tr>
              <a:tr h="237672">
                <a:tc>
                  <a:txBody>
                    <a:bodyPr/>
                    <a:lstStyle/>
                    <a:p>
                      <a:r>
                        <a:rPr lang="en-GB" sz="900" b="1" dirty="0">
                          <a:solidFill>
                            <a:schemeClr val="bg1"/>
                          </a:solidFill>
                          <a:latin typeface="Bierstadt" panose="020B0004020202020204" pitchFamily="34" charset="0"/>
                        </a:rPr>
                        <a:t>Annualized Volatility</a:t>
                      </a:r>
                    </a:p>
                  </a:txBody>
                  <a:tcPr marL="36000" marR="36000" anchor="ctr"/>
                </a:tc>
                <a:tc>
                  <a:txBody>
                    <a:bodyPr/>
                    <a:lstStyle/>
                    <a:p>
                      <a:pPr algn="ctr"/>
                      <a:r>
                        <a:rPr lang="en-GB" sz="900" b="1" dirty="0">
                          <a:solidFill>
                            <a:schemeClr val="bg1"/>
                          </a:solidFill>
                          <a:latin typeface="Bierstadt" panose="020B0004020202020204" pitchFamily="34" charset="0"/>
                        </a:rPr>
                        <a:t>17.27%</a:t>
                      </a:r>
                    </a:p>
                  </a:txBody>
                  <a:tcPr anchor="ctr"/>
                </a:tc>
                <a:tc>
                  <a:txBody>
                    <a:bodyPr/>
                    <a:lstStyle/>
                    <a:p>
                      <a:pPr algn="ctr"/>
                      <a:r>
                        <a:rPr lang="en-GB" sz="900" b="1" dirty="0">
                          <a:solidFill>
                            <a:schemeClr val="bg1"/>
                          </a:solidFill>
                          <a:latin typeface="Bierstadt" panose="020B0004020202020204" pitchFamily="34" charset="0"/>
                        </a:rPr>
                        <a:t>15.58%</a:t>
                      </a:r>
                    </a:p>
                  </a:txBody>
                  <a:tcPr anchor="ctr"/>
                </a:tc>
                <a:extLst>
                  <a:ext uri="{0D108BD9-81ED-4DB2-BD59-A6C34878D82A}">
                    <a16:rowId xmlns:a16="http://schemas.microsoft.com/office/drawing/2014/main" val="1147317178"/>
                  </a:ext>
                </a:extLst>
              </a:tr>
              <a:tr h="0">
                <a:tc>
                  <a:txBody>
                    <a:bodyPr/>
                    <a:lstStyle/>
                    <a:p>
                      <a:r>
                        <a:rPr lang="en-GB" sz="900" b="0" dirty="0">
                          <a:solidFill>
                            <a:schemeClr val="bg1"/>
                          </a:solidFill>
                          <a:latin typeface="Bierstadt" panose="020B0004020202020204" pitchFamily="34" charset="0"/>
                        </a:rPr>
                        <a:t>Sharpe ratio</a:t>
                      </a:r>
                    </a:p>
                  </a:txBody>
                  <a:tcPr marL="36000" marR="36000" anchor="ctr"/>
                </a:tc>
                <a:tc>
                  <a:txBody>
                    <a:bodyPr/>
                    <a:lstStyle/>
                    <a:p>
                      <a:pPr algn="ctr"/>
                      <a:r>
                        <a:rPr lang="en-GB" sz="900" b="0" dirty="0">
                          <a:solidFill>
                            <a:schemeClr val="bg1"/>
                          </a:solidFill>
                          <a:latin typeface="Bierstadt" panose="020B0004020202020204" pitchFamily="34" charset="0"/>
                        </a:rPr>
                        <a:t>n/a</a:t>
                      </a:r>
                    </a:p>
                  </a:txBody>
                  <a:tcPr anchor="ctr"/>
                </a:tc>
                <a:tc>
                  <a:txBody>
                    <a:bodyPr/>
                    <a:lstStyle/>
                    <a:p>
                      <a:pPr algn="ctr"/>
                      <a:r>
                        <a:rPr lang="en-GB" sz="900" b="0" dirty="0">
                          <a:solidFill>
                            <a:schemeClr val="bg1"/>
                          </a:solidFill>
                          <a:latin typeface="Bierstadt" panose="020B0004020202020204" pitchFamily="34" charset="0"/>
                        </a:rPr>
                        <a:t>0.57</a:t>
                      </a:r>
                    </a:p>
                  </a:txBody>
                  <a:tcPr anchor="ctr"/>
                </a:tc>
                <a:extLst>
                  <a:ext uri="{0D108BD9-81ED-4DB2-BD59-A6C34878D82A}">
                    <a16:rowId xmlns:a16="http://schemas.microsoft.com/office/drawing/2014/main" val="802987148"/>
                  </a:ext>
                </a:extLst>
              </a:tr>
            </a:tbl>
          </a:graphicData>
        </a:graphic>
      </p:graphicFrame>
      <p:grpSp>
        <p:nvGrpSpPr>
          <p:cNvPr id="7" name="Group 6">
            <a:extLst>
              <a:ext uri="{FF2B5EF4-FFF2-40B4-BE49-F238E27FC236}">
                <a16:creationId xmlns:a16="http://schemas.microsoft.com/office/drawing/2014/main" id="{10A7D411-409F-A063-D278-8929DD099352}"/>
              </a:ext>
            </a:extLst>
          </p:cNvPr>
          <p:cNvGrpSpPr/>
          <p:nvPr/>
        </p:nvGrpSpPr>
        <p:grpSpPr>
          <a:xfrm>
            <a:off x="3483000" y="3162351"/>
            <a:ext cx="3082392" cy="232459"/>
            <a:chOff x="292608" y="1013780"/>
            <a:chExt cx="3082392" cy="232459"/>
          </a:xfrm>
        </p:grpSpPr>
        <p:cxnSp>
          <p:nvCxnSpPr>
            <p:cNvPr id="8" name="Straight Connector 7">
              <a:extLst>
                <a:ext uri="{FF2B5EF4-FFF2-40B4-BE49-F238E27FC236}">
                  <a16:creationId xmlns:a16="http://schemas.microsoft.com/office/drawing/2014/main" id="{612F75D1-B1E7-FD43-4229-5B177B8433AA}"/>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FCFE3C-E54F-00D4-0602-B5506729367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Top 5 holdings</a:t>
              </a:r>
              <a:endParaRPr lang="en-GB" sz="1000" b="1" dirty="0">
                <a:solidFill>
                  <a:schemeClr val="bg1"/>
                </a:solidFill>
                <a:latin typeface="Bierstadt"/>
              </a:endParaRPr>
            </a:p>
          </p:txBody>
        </p:sp>
      </p:grpSp>
      <p:graphicFrame>
        <p:nvGraphicFramePr>
          <p:cNvPr id="16" name="CHART_PERF_LINE">
            <a:extLst>
              <a:ext uri="{FF2B5EF4-FFF2-40B4-BE49-F238E27FC236}">
                <a16:creationId xmlns:a16="http://schemas.microsoft.com/office/drawing/2014/main" id="{E4A34720-26F5-61E7-9AE8-9FBD771B264F}"/>
              </a:ext>
            </a:extLst>
          </p:cNvPr>
          <p:cNvGraphicFramePr>
            <a:graphicFrameLocks/>
          </p:cNvGraphicFramePr>
          <p:nvPr>
            <p:extLst>
              <p:ext uri="{D42A27DB-BD31-4B8C-83A1-F6EECF244321}">
                <p14:modId xmlns:p14="http://schemas.microsoft.com/office/powerpoint/2010/main" val="3645003504"/>
              </p:ext>
            </p:extLst>
          </p:nvPr>
        </p:nvGraphicFramePr>
        <p:xfrm>
          <a:off x="292608" y="4298812"/>
          <a:ext cx="3082392" cy="2446545"/>
        </p:xfrm>
        <a:graphic>
          <a:graphicData uri="http://schemas.openxmlformats.org/drawingml/2006/chart">
            <c:chart xmlns:c="http://schemas.openxmlformats.org/drawingml/2006/chart" xmlns:r="http://schemas.openxmlformats.org/officeDocument/2006/relationships" r:id="rId23"/>
          </a:graphicData>
        </a:graphic>
      </p:graphicFrame>
      <p:sp>
        <p:nvSpPr>
          <p:cNvPr id="14" name="RET_SINCE_INCEPT">
            <a:extLst>
              <a:ext uri="{FF2B5EF4-FFF2-40B4-BE49-F238E27FC236}">
                <a16:creationId xmlns:a16="http://schemas.microsoft.com/office/drawing/2014/main" id="{1680B882-72BD-71AE-6730-B8ECD1E99FA0}"/>
              </a:ext>
            </a:extLst>
          </p:cNvPr>
          <p:cNvSpPr/>
          <p:nvPr/>
        </p:nvSpPr>
        <p:spPr>
          <a:xfrm>
            <a:off x="364607"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42.36%</a:t>
            </a:r>
            <a:br>
              <a:rPr lang="en-GB" sz="1000" b="1" dirty="0">
                <a:solidFill>
                  <a:schemeClr val="bg1"/>
                </a:solidFill>
              </a:rPr>
            </a:br>
            <a:endParaRPr lang="en-GB" sz="1000" b="1" dirty="0">
              <a:solidFill>
                <a:schemeClr val="bg1"/>
              </a:solidFill>
            </a:endParaRPr>
          </a:p>
        </p:txBody>
      </p:sp>
      <p:sp>
        <p:nvSpPr>
          <p:cNvPr id="15" name="YTD_RETURN_USD">
            <a:extLst>
              <a:ext uri="{FF2B5EF4-FFF2-40B4-BE49-F238E27FC236}">
                <a16:creationId xmlns:a16="http://schemas.microsoft.com/office/drawing/2014/main" id="{392C4E61-6CE6-4980-5659-C6652696343C}"/>
              </a:ext>
            </a:extLst>
          </p:cNvPr>
          <p:cNvSpPr/>
          <p:nvPr/>
        </p:nvSpPr>
        <p:spPr>
          <a:xfrm>
            <a:off x="1368071"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n/a</a:t>
            </a:r>
            <a:endParaRPr lang="en-GB" sz="1000" b="1" dirty="0">
              <a:solidFill>
                <a:schemeClr val="bg1"/>
              </a:solidFill>
            </a:endParaRPr>
          </a:p>
        </p:txBody>
      </p:sp>
      <p:sp>
        <p:nvSpPr>
          <p:cNvPr id="17" name="AVG_Y_COMP_RET_SINCE_INCEPT">
            <a:extLst>
              <a:ext uri="{FF2B5EF4-FFF2-40B4-BE49-F238E27FC236}">
                <a16:creationId xmlns:a16="http://schemas.microsoft.com/office/drawing/2014/main" id="{3B7398A2-22FB-9185-21DD-EABB29FA203D}"/>
              </a:ext>
            </a:extLst>
          </p:cNvPr>
          <p:cNvSpPr/>
          <p:nvPr/>
        </p:nvSpPr>
        <p:spPr>
          <a:xfrm>
            <a:off x="2371535"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9.08%</a:t>
            </a:r>
            <a:endParaRPr lang="en-GB" sz="1000" b="1" dirty="0">
              <a:solidFill>
                <a:schemeClr val="bg1"/>
              </a:solidFill>
            </a:endParaRPr>
          </a:p>
        </p:txBody>
      </p:sp>
    </p:spTree>
    <p:extLst>
      <p:ext uri="{BB962C8B-B14F-4D97-AF65-F5344CB8AC3E}">
        <p14:creationId xmlns:p14="http://schemas.microsoft.com/office/powerpoint/2010/main" val="108633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8F08F-1CCE-FF7E-0781-148612BCC4E5}"/>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2779A11D-480E-334A-262D-11CDEC753E12}"/>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FFBF8C92-1768-16F6-C6A4-7E343B895641}"/>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3AA0F09E-8CD5-6807-79D1-A66E897C7BBD}"/>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EAE14FC9-B929-8BEE-D671-582E36D9BA34}"/>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grpSp>
        <p:nvGrpSpPr>
          <p:cNvPr id="1031" name="Group 1030">
            <a:extLst>
              <a:ext uri="{FF2B5EF4-FFF2-40B4-BE49-F238E27FC236}">
                <a16:creationId xmlns:a16="http://schemas.microsoft.com/office/drawing/2014/main" id="{3D7D9478-AA93-8084-8BED-8FB551C77090}"/>
              </a:ext>
            </a:extLst>
          </p:cNvPr>
          <p:cNvGrpSpPr/>
          <p:nvPr/>
        </p:nvGrpSpPr>
        <p:grpSpPr>
          <a:xfrm>
            <a:off x="292608" y="348002"/>
            <a:ext cx="4364736" cy="502385"/>
            <a:chOff x="292608" y="157085"/>
            <a:chExt cx="4364736" cy="502385"/>
          </a:xfrm>
        </p:grpSpPr>
        <p:sp>
          <p:nvSpPr>
            <p:cNvPr id="61" name="TextBox 60">
              <a:extLst>
                <a:ext uri="{FF2B5EF4-FFF2-40B4-BE49-F238E27FC236}">
                  <a16:creationId xmlns:a16="http://schemas.microsoft.com/office/drawing/2014/main" id="{3E360A5B-C17E-37B0-5EF4-39C71FE4AF1A}"/>
                </a:ext>
              </a:extLst>
            </p:cNvPr>
            <p:cNvSpPr txBox="1"/>
            <p:nvPr/>
          </p:nvSpPr>
          <p:spPr>
            <a:xfrm>
              <a:off x="292608" y="157085"/>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_2">
              <a:extLst>
                <a:ext uri="{FF2B5EF4-FFF2-40B4-BE49-F238E27FC236}">
                  <a16:creationId xmlns:a16="http://schemas.microsoft.com/office/drawing/2014/main" id="{51F57ADC-A945-6C43-7EA4-C14722602195}"/>
                </a:ext>
              </a:extLst>
            </p:cNvPr>
            <p:cNvSpPr txBox="1"/>
            <p:nvPr/>
          </p:nvSpPr>
          <p:spPr>
            <a:xfrm>
              <a:off x="292608" y="397860"/>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29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grpSp>
        <p:nvGrpSpPr>
          <p:cNvPr id="1028" name="Group 1027">
            <a:extLst>
              <a:ext uri="{FF2B5EF4-FFF2-40B4-BE49-F238E27FC236}">
                <a16:creationId xmlns:a16="http://schemas.microsoft.com/office/drawing/2014/main" id="{3DD59AF6-2EB5-BBDC-1946-56CB294B3107}"/>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B97B2B1B-BA91-F37A-E742-A01AA6A6DC42}"/>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2980813D-CD81-C5D4-8BD2-291F366C9C8D}"/>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D4E92CE4-9E2D-8959-0803-502A3BE40143}"/>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45A9599C-17B7-D351-6F19-AC0975E58EF8}"/>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66535381-6AAA-A590-D2C9-0F970FA09C0E}"/>
              </a:ext>
            </a:extLst>
          </p:cNvPr>
          <p:cNvSpPr/>
          <p:nvPr/>
        </p:nvSpPr>
        <p:spPr>
          <a:xfrm>
            <a:off x="292608"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47D763D0-6FAD-8EE8-5747-014CE2FE63D1}"/>
              </a:ext>
            </a:extLst>
          </p:cNvPr>
          <p:cNvSpPr/>
          <p:nvPr/>
        </p:nvSpPr>
        <p:spPr>
          <a:xfrm>
            <a:off x="292608" y="8054295"/>
            <a:ext cx="6272784" cy="157128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240151D1-83A6-A968-8252-EFE1718B8892}"/>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2</a:t>
            </a:r>
            <a:endParaRPr lang="en-GB" sz="1200" dirty="0">
              <a:solidFill>
                <a:schemeClr val="bg1"/>
              </a:solidFill>
            </a:endParaRPr>
          </a:p>
        </p:txBody>
      </p:sp>
      <p:sp>
        <p:nvSpPr>
          <p:cNvPr id="1048" name="Rectangle 1047">
            <a:extLst>
              <a:ext uri="{FF2B5EF4-FFF2-40B4-BE49-F238E27FC236}">
                <a16:creationId xmlns:a16="http://schemas.microsoft.com/office/drawing/2014/main" id="{5E3C658C-B662-59DF-3EA8-7451A48DEC92}"/>
              </a:ext>
            </a:extLst>
          </p:cNvPr>
          <p:cNvSpPr/>
          <p:nvPr/>
        </p:nvSpPr>
        <p:spPr>
          <a:xfrm>
            <a:off x="3483000"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CFF97540-2FAA-CB80-9EE6-18FC939AD2A7}"/>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2AA1BD25-3799-3F95-0DE9-9F59A9A36D0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7DE8908D-2D00-1C15-18BA-CBC986C795F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Distribution per sector</a:t>
              </a:r>
              <a:endParaRPr lang="en-GB" sz="1000" b="1" dirty="0">
                <a:solidFill>
                  <a:schemeClr val="bg1"/>
                </a:solidFill>
                <a:latin typeface="Bierstadt"/>
              </a:endParaRPr>
            </a:p>
          </p:txBody>
        </p:sp>
      </p:grpSp>
      <p:grpSp>
        <p:nvGrpSpPr>
          <p:cNvPr id="1117" name="Group 1116">
            <a:extLst>
              <a:ext uri="{FF2B5EF4-FFF2-40B4-BE49-F238E27FC236}">
                <a16:creationId xmlns:a16="http://schemas.microsoft.com/office/drawing/2014/main" id="{B2136F99-9273-3C06-2EAB-3252A341E5A3}"/>
              </a:ext>
            </a:extLst>
          </p:cNvPr>
          <p:cNvGrpSpPr/>
          <p:nvPr/>
        </p:nvGrpSpPr>
        <p:grpSpPr>
          <a:xfrm>
            <a:off x="3483000" y="1013780"/>
            <a:ext cx="3082392" cy="232459"/>
            <a:chOff x="292608" y="1013780"/>
            <a:chExt cx="3082392" cy="232459"/>
          </a:xfrm>
        </p:grpSpPr>
        <p:cxnSp>
          <p:nvCxnSpPr>
            <p:cNvPr id="1118" name="Straight Connector 1117">
              <a:extLst>
                <a:ext uri="{FF2B5EF4-FFF2-40B4-BE49-F238E27FC236}">
                  <a16:creationId xmlns:a16="http://schemas.microsoft.com/office/drawing/2014/main" id="{417D1884-0E28-3C02-8058-8055782D66C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C94E1CCC-1EB6-B73E-CDC7-DAD9477FC9F7}"/>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Distrubution per region</a:t>
              </a:r>
              <a:endParaRPr lang="en-GB" sz="1000" b="1" dirty="0">
                <a:solidFill>
                  <a:schemeClr val="bg1"/>
                </a:solidFill>
                <a:latin typeface="Bierstadt"/>
              </a:endParaRPr>
            </a:p>
          </p:txBody>
        </p:sp>
      </p:grpSp>
      <p:grpSp>
        <p:nvGrpSpPr>
          <p:cNvPr id="4" name="Group 3">
            <a:extLst>
              <a:ext uri="{FF2B5EF4-FFF2-40B4-BE49-F238E27FC236}">
                <a16:creationId xmlns:a16="http://schemas.microsoft.com/office/drawing/2014/main" id="{AB4B8C69-4066-D9CE-BBBE-2CCB91AE5ED8}"/>
              </a:ext>
            </a:extLst>
          </p:cNvPr>
          <p:cNvGrpSpPr/>
          <p:nvPr/>
        </p:nvGrpSpPr>
        <p:grpSpPr>
          <a:xfrm>
            <a:off x="292608" y="8054295"/>
            <a:ext cx="6272784" cy="232459"/>
            <a:chOff x="292608" y="6853356"/>
            <a:chExt cx="6272784" cy="232459"/>
          </a:xfrm>
        </p:grpSpPr>
        <p:sp>
          <p:nvSpPr>
            <p:cNvPr id="2" name="Rectangle 1">
              <a:extLst>
                <a:ext uri="{FF2B5EF4-FFF2-40B4-BE49-F238E27FC236}">
                  <a16:creationId xmlns:a16="http://schemas.microsoft.com/office/drawing/2014/main" id="{C3028533-FFA0-8969-1B38-84E8E0A5D661}"/>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Disclaimer</a:t>
              </a:r>
            </a:p>
          </p:txBody>
        </p:sp>
        <p:cxnSp>
          <p:nvCxnSpPr>
            <p:cNvPr id="3" name="Straight Connector 2">
              <a:extLst>
                <a:ext uri="{FF2B5EF4-FFF2-40B4-BE49-F238E27FC236}">
                  <a16:creationId xmlns:a16="http://schemas.microsoft.com/office/drawing/2014/main" id="{D9F15FCC-4748-D4D1-90AA-0B77FBBD60A4}"/>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099FCF1D-8887-3256-ED6F-1006081DF865}"/>
              </a:ext>
            </a:extLst>
          </p:cNvPr>
          <p:cNvSpPr txBox="1"/>
          <p:nvPr/>
        </p:nvSpPr>
        <p:spPr>
          <a:xfrm>
            <a:off x="292608" y="8286755"/>
            <a:ext cx="6272784" cy="1338828"/>
          </a:xfrm>
          <a:prstGeom prst="rect">
            <a:avLst/>
          </a:prstGeom>
          <a:noFill/>
        </p:spPr>
        <p:txBody>
          <a:bodyPr wrap="square" rtlCol="0">
            <a:spAutoFit/>
          </a:bodyPr>
          <a:lstStyle/>
          <a:p>
            <a:pPr algn="just"/>
            <a:r>
              <a:rPr lang="en-US" sz="900" b="0" i="0" u="none" strike="noStrike" baseline="0" dirty="0">
                <a:solidFill>
                  <a:schemeClr val="bg1"/>
                </a:solidFill>
                <a:latin typeface="Bierstadt" panose="020B0004020202020204" pitchFamily="34" charset="0"/>
                <a:cs typeface="Helvetica" panose="020B0604020202020204" pitchFamily="34" charset="0"/>
              </a:rPr>
              <a:t>This document should not be seen as an offer to purchase any specific product and is not to be construed as advice or guidance in any form whatsoever. Investors are encouraged to obtain independent professional investment and taxation advice before investing with or in any of Kukula’s Asset Management products. Kukula Capital reserves the right to close the portfolio to new investors and reopen certain portfolios</a:t>
            </a:r>
            <a:r>
              <a:rPr lang="en-US" sz="900" dirty="0">
                <a:solidFill>
                  <a:schemeClr val="bg1"/>
                </a:solidFill>
                <a:latin typeface="Bierstadt" panose="020B0004020202020204" pitchFamily="34" charset="0"/>
                <a:cs typeface="Helvetica" panose="020B0604020202020204" pitchFamily="34" charset="0"/>
              </a:rPr>
              <a:t> </a:t>
            </a:r>
            <a:r>
              <a:rPr lang="en-US" sz="900" b="0" i="0" u="none" strike="noStrike" baseline="0" dirty="0">
                <a:solidFill>
                  <a:schemeClr val="bg1"/>
                </a:solidFill>
                <a:latin typeface="Bierstadt" panose="020B0004020202020204" pitchFamily="34" charset="0"/>
                <a:cs typeface="Helvetica" panose="020B0604020202020204" pitchFamily="34" charset="0"/>
              </a:rPr>
              <a:t>from time to time in order to manage them more efficiently. Investments in foreign securities may include additional risks such as potential constraints on liquidity and repatriation </a:t>
            </a:r>
            <a:r>
              <a:rPr lang="en-ZA" sz="900" b="0" i="0" u="none" strike="noStrike" baseline="0" dirty="0">
                <a:solidFill>
                  <a:schemeClr val="bg1"/>
                </a:solidFill>
                <a:latin typeface="Bierstadt" panose="020B0004020202020204" pitchFamily="34" charset="0"/>
                <a:cs typeface="Helvetica" panose="020B0604020202020204" pitchFamily="34" charset="0"/>
              </a:rPr>
              <a:t>of funds, macroeconomic risk, political risk, foreign exchange risk, tax risk, settlement risk as well as potential limitations on the availability of market information. </a:t>
            </a:r>
            <a:r>
              <a:rPr lang="en-US" sz="900" b="0" i="0" u="none" strike="noStrike" baseline="0" dirty="0">
                <a:solidFill>
                  <a:schemeClr val="bg1"/>
                </a:solidFill>
                <a:latin typeface="Bierstadt" panose="020B0004020202020204" pitchFamily="34" charset="0"/>
                <a:cs typeface="Helvetica" panose="020B0604020202020204" pitchFamily="34" charset="0"/>
              </a:rPr>
              <a:t>Past performance is not an indication of future performance. </a:t>
            </a:r>
          </a:p>
          <a:p>
            <a:pPr algn="just"/>
            <a:endParaRPr lang="en-US" sz="900" dirty="0">
              <a:solidFill>
                <a:schemeClr val="bg1"/>
              </a:solidFill>
              <a:latin typeface="Bierstadt" panose="020B0004020202020204" pitchFamily="34" charset="0"/>
              <a:cs typeface="Helvetica" panose="020B0604020202020204" pitchFamily="34" charset="0"/>
            </a:endParaRPr>
          </a:p>
          <a:p>
            <a:pPr algn="just"/>
            <a:r>
              <a:rPr lang="en-US" sz="900" dirty="0">
                <a:solidFill>
                  <a:schemeClr val="bg1"/>
                </a:solidFill>
                <a:latin typeface="Bierstadt" panose="020B0004020202020204" pitchFamily="34" charset="0"/>
                <a:cs typeface="Helvetica" panose="020B0604020202020204" pitchFamily="34" charset="0"/>
              </a:rPr>
              <a:t>Kukula Capital is a Fund Manager regulated by the Securities and Exchange Commission of Zambia </a:t>
            </a:r>
          </a:p>
        </p:txBody>
      </p:sp>
      <p:grpSp>
        <p:nvGrpSpPr>
          <p:cNvPr id="12" name="Group 11">
            <a:extLst>
              <a:ext uri="{FF2B5EF4-FFF2-40B4-BE49-F238E27FC236}">
                <a16:creationId xmlns:a16="http://schemas.microsoft.com/office/drawing/2014/main" id="{EA26CCA3-2673-1AFB-06B3-C4434358EFD0}"/>
              </a:ext>
            </a:extLst>
          </p:cNvPr>
          <p:cNvGrpSpPr/>
          <p:nvPr/>
        </p:nvGrpSpPr>
        <p:grpSpPr>
          <a:xfrm>
            <a:off x="2393997" y="2543287"/>
            <a:ext cx="735748" cy="325575"/>
            <a:chOff x="2387480" y="2325829"/>
            <a:chExt cx="890255" cy="393946"/>
          </a:xfrm>
        </p:grpSpPr>
        <p:sp>
          <p:nvSpPr>
            <p:cNvPr id="10" name="Rectangle 9">
              <a:extLst>
                <a:ext uri="{FF2B5EF4-FFF2-40B4-BE49-F238E27FC236}">
                  <a16:creationId xmlns:a16="http://schemas.microsoft.com/office/drawing/2014/main" id="{2AE094CA-474D-B279-5ED1-A5109E8B9776}"/>
                </a:ext>
              </a:extLst>
            </p:cNvPr>
            <p:cNvSpPr/>
            <p:nvPr/>
          </p:nvSpPr>
          <p:spPr>
            <a:xfrm>
              <a:off x="2387480" y="2549361"/>
              <a:ext cx="890255" cy="170414"/>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echnology</a:t>
              </a:r>
              <a:endParaRPr lang="en-GB" sz="600" dirty="0">
                <a:solidFill>
                  <a:schemeClr val="bg1"/>
                </a:solidFill>
                <a:latin typeface="Bierstadt" panose="020B0004020202020204" pitchFamily="34" charset="0"/>
              </a:endParaRPr>
            </a:p>
          </p:txBody>
        </p:sp>
        <p:pic>
          <p:nvPicPr>
            <p:cNvPr id="11" name="Graphic 10">
              <a:extLst>
                <a:ext uri="{FF2B5EF4-FFF2-40B4-BE49-F238E27FC236}">
                  <a16:creationId xmlns:a16="http://schemas.microsoft.com/office/drawing/2014/main" id="{013EC465-3A3D-5632-C448-047BF928C02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720841" y="2325829"/>
              <a:ext cx="223532" cy="223532"/>
            </a:xfrm>
            <a:prstGeom prst="rect">
              <a:avLst/>
            </a:prstGeom>
          </p:spPr>
        </p:pic>
      </p:grpSp>
      <p:sp>
        <p:nvSpPr>
          <p:cNvPr id="14" name="Rectangle 13">
            <a:extLst>
              <a:ext uri="{FF2B5EF4-FFF2-40B4-BE49-F238E27FC236}">
                <a16:creationId xmlns:a16="http://schemas.microsoft.com/office/drawing/2014/main" id="{C83E3CF8-292A-D39F-1EEA-8C791AEB34B6}"/>
              </a:ext>
            </a:extLst>
          </p:cNvPr>
          <p:cNvSpPr/>
          <p:nvPr/>
        </p:nvSpPr>
        <p:spPr>
          <a:xfrm>
            <a:off x="1008626" y="3476575"/>
            <a:ext cx="80031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staples</a:t>
            </a:r>
            <a:endParaRPr lang="en-GB" sz="600" dirty="0">
              <a:solidFill>
                <a:schemeClr val="bg1"/>
              </a:solidFill>
              <a:latin typeface="Bierstadt" panose="020B0004020202020204" pitchFamily="34" charset="0"/>
            </a:endParaRPr>
          </a:p>
        </p:txBody>
      </p:sp>
      <p:pic>
        <p:nvPicPr>
          <p:cNvPr id="40" name="Graphic 39">
            <a:extLst>
              <a:ext uri="{FF2B5EF4-FFF2-40B4-BE49-F238E27FC236}">
                <a16:creationId xmlns:a16="http://schemas.microsoft.com/office/drawing/2014/main" id="{1A099470-3542-E97C-417C-3C9AA76149FA}"/>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1316417" y="3291837"/>
            <a:ext cx="184737" cy="184737"/>
          </a:xfrm>
          <a:prstGeom prst="rect">
            <a:avLst/>
          </a:prstGeom>
        </p:spPr>
      </p:pic>
      <p:sp>
        <p:nvSpPr>
          <p:cNvPr id="17" name="Rectangle 16">
            <a:extLst>
              <a:ext uri="{FF2B5EF4-FFF2-40B4-BE49-F238E27FC236}">
                <a16:creationId xmlns:a16="http://schemas.microsoft.com/office/drawing/2014/main" id="{72EC8E88-2904-9494-D729-847B8159229B}"/>
              </a:ext>
            </a:extLst>
          </p:cNvPr>
          <p:cNvSpPr/>
          <p:nvPr/>
        </p:nvSpPr>
        <p:spPr>
          <a:xfrm>
            <a:off x="353099" y="270003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Materials</a:t>
            </a:r>
            <a:endParaRPr lang="en-GB" sz="600" dirty="0">
              <a:solidFill>
                <a:schemeClr val="bg1"/>
              </a:solidFill>
              <a:latin typeface="Bierstadt" panose="020B0004020202020204" pitchFamily="34" charset="0"/>
            </a:endParaRPr>
          </a:p>
        </p:txBody>
      </p:sp>
      <p:pic>
        <p:nvPicPr>
          <p:cNvPr id="41" name="Graphic 40">
            <a:extLst>
              <a:ext uri="{FF2B5EF4-FFF2-40B4-BE49-F238E27FC236}">
                <a16:creationId xmlns:a16="http://schemas.microsoft.com/office/drawing/2014/main" id="{39234BC4-F8AD-3BFC-BEA9-9A918A0E608B}"/>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28604" y="2515293"/>
            <a:ext cx="184737" cy="184737"/>
          </a:xfrm>
          <a:prstGeom prst="rect">
            <a:avLst/>
          </a:prstGeom>
        </p:spPr>
      </p:pic>
      <p:grpSp>
        <p:nvGrpSpPr>
          <p:cNvPr id="43" name="Group 42">
            <a:extLst>
              <a:ext uri="{FF2B5EF4-FFF2-40B4-BE49-F238E27FC236}">
                <a16:creationId xmlns:a16="http://schemas.microsoft.com/office/drawing/2014/main" id="{7EF4A4B5-327E-213A-0A92-2A9077E3ECA7}"/>
              </a:ext>
            </a:extLst>
          </p:cNvPr>
          <p:cNvGrpSpPr/>
          <p:nvPr/>
        </p:nvGrpSpPr>
        <p:grpSpPr>
          <a:xfrm>
            <a:off x="314139" y="1934099"/>
            <a:ext cx="735749" cy="325575"/>
            <a:chOff x="405579" y="1934099"/>
            <a:chExt cx="735749" cy="325575"/>
          </a:xfrm>
        </p:grpSpPr>
        <p:sp>
          <p:nvSpPr>
            <p:cNvPr id="20" name="Rectangle 19">
              <a:extLst>
                <a:ext uri="{FF2B5EF4-FFF2-40B4-BE49-F238E27FC236}">
                  <a16:creationId xmlns:a16="http://schemas.microsoft.com/office/drawing/2014/main" id="{C430CF63-0430-AB16-D38F-57BD98609CA3}"/>
                </a:ext>
              </a:extLst>
            </p:cNvPr>
            <p:cNvSpPr/>
            <p:nvPr/>
          </p:nvSpPr>
          <p:spPr>
            <a:xfrm>
              <a:off x="405579" y="2118836"/>
              <a:ext cx="73574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solidFill>
                  <a:latin typeface="Bierstadt" panose="020B0004020202020204" pitchFamily="34" charset="0"/>
                </a:rPr>
                <a:t>Financial services</a:t>
              </a:r>
              <a:endParaRPr lang="en-GB" sz="600" dirty="0">
                <a:solidFill>
                  <a:schemeClr val="bg1"/>
                </a:solidFill>
                <a:latin typeface="Bierstadt" panose="020B0004020202020204" pitchFamily="34" charset="0"/>
              </a:endParaRPr>
            </a:p>
          </p:txBody>
        </p:sp>
        <p:pic>
          <p:nvPicPr>
            <p:cNvPr id="42" name="Graphic 41">
              <a:extLst>
                <a:ext uri="{FF2B5EF4-FFF2-40B4-BE49-F238E27FC236}">
                  <a16:creationId xmlns:a16="http://schemas.microsoft.com/office/drawing/2014/main" id="{0774DE06-6ECB-63EB-ABE7-8520BE1F0C53}"/>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81085" y="1934099"/>
              <a:ext cx="184737" cy="184737"/>
            </a:xfrm>
            <a:prstGeom prst="rect">
              <a:avLst/>
            </a:prstGeom>
          </p:spPr>
        </p:pic>
      </p:grpSp>
      <p:sp>
        <p:nvSpPr>
          <p:cNvPr id="25" name="Rectangle 24">
            <a:extLst>
              <a:ext uri="{FF2B5EF4-FFF2-40B4-BE49-F238E27FC236}">
                <a16:creationId xmlns:a16="http://schemas.microsoft.com/office/drawing/2014/main" id="{220F02E8-61FC-9ABE-2D55-99A17C0C29F7}"/>
              </a:ext>
            </a:extLst>
          </p:cNvPr>
          <p:cNvSpPr/>
          <p:nvPr/>
        </p:nvSpPr>
        <p:spPr>
          <a:xfrm>
            <a:off x="690304" y="1716818"/>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Healthcare</a:t>
            </a:r>
            <a:endParaRPr lang="en-GB" sz="600" dirty="0">
              <a:solidFill>
                <a:schemeClr val="bg1"/>
              </a:solidFill>
              <a:latin typeface="Bierstadt" panose="020B0004020202020204" pitchFamily="34" charset="0"/>
            </a:endParaRPr>
          </a:p>
        </p:txBody>
      </p:sp>
      <p:pic>
        <p:nvPicPr>
          <p:cNvPr id="44" name="Graphic 43">
            <a:extLst>
              <a:ext uri="{FF2B5EF4-FFF2-40B4-BE49-F238E27FC236}">
                <a16:creationId xmlns:a16="http://schemas.microsoft.com/office/drawing/2014/main" id="{C0B4EA05-F62F-5EF7-3AE6-8D70CA2A6DEB}"/>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965809" y="1532081"/>
            <a:ext cx="184737" cy="184737"/>
          </a:xfrm>
          <a:prstGeom prst="rect">
            <a:avLst/>
          </a:prstGeom>
        </p:spPr>
      </p:pic>
      <p:sp>
        <p:nvSpPr>
          <p:cNvPr id="29" name="Rectangle 28">
            <a:extLst>
              <a:ext uri="{FF2B5EF4-FFF2-40B4-BE49-F238E27FC236}">
                <a16:creationId xmlns:a16="http://schemas.microsoft.com/office/drawing/2014/main" id="{E66AF298-75C9-C2BC-ED2A-4C925FD60E1A}"/>
              </a:ext>
            </a:extLst>
          </p:cNvPr>
          <p:cNvSpPr/>
          <p:nvPr/>
        </p:nvSpPr>
        <p:spPr>
          <a:xfrm>
            <a:off x="1040913" y="150957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Utilities</a:t>
            </a:r>
            <a:endParaRPr lang="en-GB" sz="600" dirty="0">
              <a:solidFill>
                <a:schemeClr val="bg1"/>
              </a:solidFill>
              <a:latin typeface="Bierstadt" panose="020B0004020202020204" pitchFamily="34" charset="0"/>
            </a:endParaRPr>
          </a:p>
        </p:txBody>
      </p:sp>
      <p:pic>
        <p:nvPicPr>
          <p:cNvPr id="46" name="Graphic 45">
            <a:extLst>
              <a:ext uri="{FF2B5EF4-FFF2-40B4-BE49-F238E27FC236}">
                <a16:creationId xmlns:a16="http://schemas.microsoft.com/office/drawing/2014/main" id="{4203E42F-EE76-D8C5-2ADD-589AA92D7668}"/>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1316418" y="1324842"/>
            <a:ext cx="184737" cy="184737"/>
          </a:xfrm>
          <a:prstGeom prst="rect">
            <a:avLst/>
          </a:prstGeom>
        </p:spPr>
      </p:pic>
      <p:sp>
        <p:nvSpPr>
          <p:cNvPr id="32" name="Rectangle 31">
            <a:extLst>
              <a:ext uri="{FF2B5EF4-FFF2-40B4-BE49-F238E27FC236}">
                <a16:creationId xmlns:a16="http://schemas.microsoft.com/office/drawing/2014/main" id="{C8B6BF94-46A7-2023-C325-E3D166F5E203}"/>
              </a:ext>
            </a:extLst>
          </p:cNvPr>
          <p:cNvSpPr/>
          <p:nvPr/>
        </p:nvSpPr>
        <p:spPr>
          <a:xfrm>
            <a:off x="1444517" y="147750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47" name="Graphic 46">
            <a:extLst>
              <a:ext uri="{FF2B5EF4-FFF2-40B4-BE49-F238E27FC236}">
                <a16:creationId xmlns:a16="http://schemas.microsoft.com/office/drawing/2014/main" id="{B7CB9195-F8E2-043A-D295-449E46E3EBB9}"/>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1720022" y="1292772"/>
            <a:ext cx="184737" cy="184737"/>
          </a:xfrm>
          <a:prstGeom prst="rect">
            <a:avLst/>
          </a:prstGeom>
        </p:spPr>
      </p:pic>
      <p:sp>
        <p:nvSpPr>
          <p:cNvPr id="35" name="Rectangle 34">
            <a:extLst>
              <a:ext uri="{FF2B5EF4-FFF2-40B4-BE49-F238E27FC236}">
                <a16:creationId xmlns:a16="http://schemas.microsoft.com/office/drawing/2014/main" id="{419AAB4D-B941-7415-902C-E1485893A00D}"/>
              </a:ext>
            </a:extLst>
          </p:cNvPr>
          <p:cNvSpPr/>
          <p:nvPr/>
        </p:nvSpPr>
        <p:spPr>
          <a:xfrm>
            <a:off x="1841231" y="155027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ransportation</a:t>
            </a:r>
            <a:endParaRPr lang="en-GB" sz="600" dirty="0">
              <a:solidFill>
                <a:schemeClr val="bg1"/>
              </a:solidFill>
              <a:latin typeface="Bierstadt" panose="020B0004020202020204" pitchFamily="34" charset="0"/>
            </a:endParaRPr>
          </a:p>
        </p:txBody>
      </p:sp>
      <p:pic>
        <p:nvPicPr>
          <p:cNvPr id="48" name="Graphic 47">
            <a:extLst>
              <a:ext uri="{FF2B5EF4-FFF2-40B4-BE49-F238E27FC236}">
                <a16:creationId xmlns:a16="http://schemas.microsoft.com/office/drawing/2014/main" id="{BDAFF7B7-207D-4703-3CE0-069C0B3A5B25}"/>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a:off x="2116736" y="1365533"/>
            <a:ext cx="184737" cy="184737"/>
          </a:xfrm>
          <a:prstGeom prst="rect">
            <a:avLst/>
          </a:prstGeom>
        </p:spPr>
      </p:pic>
      <p:sp>
        <p:nvSpPr>
          <p:cNvPr id="38" name="Rectangle 37">
            <a:extLst>
              <a:ext uri="{FF2B5EF4-FFF2-40B4-BE49-F238E27FC236}">
                <a16:creationId xmlns:a16="http://schemas.microsoft.com/office/drawing/2014/main" id="{EA112802-2A42-169C-131E-DBF1F5A1882B}"/>
              </a:ext>
            </a:extLst>
          </p:cNvPr>
          <p:cNvSpPr/>
          <p:nvPr/>
        </p:nvSpPr>
        <p:spPr>
          <a:xfrm>
            <a:off x="2242320" y="1750827"/>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discretionary</a:t>
            </a:r>
            <a:endParaRPr lang="en-GB" sz="600" dirty="0">
              <a:solidFill>
                <a:schemeClr val="bg1"/>
              </a:solidFill>
              <a:latin typeface="Bierstadt" panose="020B0004020202020204" pitchFamily="34" charset="0"/>
            </a:endParaRPr>
          </a:p>
        </p:txBody>
      </p:sp>
      <p:pic>
        <p:nvPicPr>
          <p:cNvPr id="49" name="Graphic 48">
            <a:extLst>
              <a:ext uri="{FF2B5EF4-FFF2-40B4-BE49-F238E27FC236}">
                <a16:creationId xmlns:a16="http://schemas.microsoft.com/office/drawing/2014/main" id="{A8E15041-4912-B3D8-0150-F4D6E30D422C}"/>
              </a:ext>
            </a:extLst>
          </p:cNvPr>
          <p:cNvPicPr>
            <a:picLocks/>
          </p:cNvPicPr>
          <p:nvPr/>
        </p:nvPicPr>
        <p:blipFill>
          <a:blip r:embed="rId30">
            <a:extLst>
              <a:ext uri="{96DAC541-7B7A-43D3-8B79-37D633B846F1}">
                <asvg:svgBlip xmlns:asvg="http://schemas.microsoft.com/office/drawing/2016/SVG/main" r:embed="rId31"/>
              </a:ext>
            </a:extLst>
          </a:blip>
          <a:stretch>
            <a:fillRect/>
          </a:stretch>
        </p:blipFill>
        <p:spPr>
          <a:xfrm>
            <a:off x="2517825" y="1550850"/>
            <a:ext cx="184737" cy="184737"/>
          </a:xfrm>
          <a:prstGeom prst="rect">
            <a:avLst/>
          </a:prstGeom>
        </p:spPr>
      </p:pic>
      <p:sp>
        <p:nvSpPr>
          <p:cNvPr id="55" name="Rectangle 54">
            <a:extLst>
              <a:ext uri="{FF2B5EF4-FFF2-40B4-BE49-F238E27FC236}">
                <a16:creationId xmlns:a16="http://schemas.microsoft.com/office/drawing/2014/main" id="{740F6A28-57EB-1294-4ACF-DC51AE132108}"/>
              </a:ext>
            </a:extLst>
          </p:cNvPr>
          <p:cNvSpPr/>
          <p:nvPr/>
        </p:nvSpPr>
        <p:spPr>
          <a:xfrm>
            <a:off x="5073650" y="1661181"/>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Europe</a:t>
            </a:r>
            <a:endParaRPr lang="en-GB" sz="600" dirty="0">
              <a:solidFill>
                <a:schemeClr val="bg1"/>
              </a:solidFill>
              <a:latin typeface="Bierstadt" panose="020B0004020202020204" pitchFamily="34" charset="0"/>
            </a:endParaRPr>
          </a:p>
        </p:txBody>
      </p:sp>
      <p:pic>
        <p:nvPicPr>
          <p:cNvPr id="57" name="Graphic 56">
            <a:extLst>
              <a:ext uri="{FF2B5EF4-FFF2-40B4-BE49-F238E27FC236}">
                <a16:creationId xmlns:a16="http://schemas.microsoft.com/office/drawing/2014/main" id="{FDDA8EE5-2B07-55E1-BF0F-20D8DDAFFA87}"/>
              </a:ext>
            </a:extLst>
          </p:cNvPr>
          <p:cNvPicPr>
            <a:picLocks/>
          </p:cNvPicPr>
          <p:nvPr/>
        </p:nvPicPr>
        <p:blipFill>
          <a:blip r:embed="rId32">
            <a:extLst>
              <a:ext uri="{96DAC541-7B7A-43D3-8B79-37D633B846F1}">
                <asvg:svgBlip xmlns:asvg="http://schemas.microsoft.com/office/drawing/2016/SVG/main" r:embed="rId33"/>
              </a:ext>
            </a:extLst>
          </a:blip>
          <a:stretch>
            <a:fillRect/>
          </a:stretch>
        </p:blipFill>
        <p:spPr>
          <a:xfrm>
            <a:off x="5349154" y="1476444"/>
            <a:ext cx="184737" cy="184737"/>
          </a:xfrm>
          <a:prstGeom prst="rect">
            <a:avLst/>
          </a:prstGeom>
        </p:spPr>
      </p:pic>
      <p:grpSp>
        <p:nvGrpSpPr>
          <p:cNvPr id="1030" name="Group 1029">
            <a:extLst>
              <a:ext uri="{FF2B5EF4-FFF2-40B4-BE49-F238E27FC236}">
                <a16:creationId xmlns:a16="http://schemas.microsoft.com/office/drawing/2014/main" id="{A8340488-64B7-353C-A4FA-EB2260E5A373}"/>
              </a:ext>
            </a:extLst>
          </p:cNvPr>
          <p:cNvGrpSpPr/>
          <p:nvPr/>
        </p:nvGrpSpPr>
        <p:grpSpPr>
          <a:xfrm>
            <a:off x="5358370" y="3243826"/>
            <a:ext cx="735748" cy="325575"/>
            <a:chOff x="5358370" y="3243826"/>
            <a:chExt cx="735748" cy="325575"/>
          </a:xfrm>
        </p:grpSpPr>
        <p:sp>
          <p:nvSpPr>
            <p:cNvPr id="63" name="Rectangle 62">
              <a:extLst>
                <a:ext uri="{FF2B5EF4-FFF2-40B4-BE49-F238E27FC236}">
                  <a16:creationId xmlns:a16="http://schemas.microsoft.com/office/drawing/2014/main" id="{D482A90D-6D02-1D17-FA7C-5DE0F2E90558}"/>
                </a:ext>
              </a:extLst>
            </p:cNvPr>
            <p:cNvSpPr/>
            <p:nvPr/>
          </p:nvSpPr>
          <p:spPr>
            <a:xfrm>
              <a:off x="5358370" y="3428563"/>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North America</a:t>
              </a:r>
              <a:endParaRPr lang="en-GB" sz="600" dirty="0">
                <a:solidFill>
                  <a:schemeClr val="bg1"/>
                </a:solidFill>
                <a:latin typeface="Bierstadt" panose="020B0004020202020204" pitchFamily="34" charset="0"/>
              </a:endParaRPr>
            </a:p>
          </p:txBody>
        </p:sp>
        <p:pic>
          <p:nvPicPr>
            <p:cNvPr id="1029" name="Graphic 1028">
              <a:extLst>
                <a:ext uri="{FF2B5EF4-FFF2-40B4-BE49-F238E27FC236}">
                  <a16:creationId xmlns:a16="http://schemas.microsoft.com/office/drawing/2014/main" id="{E2B42250-64A3-D359-636C-59A0C70156BE}"/>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633874" y="3243826"/>
              <a:ext cx="184737" cy="184737"/>
            </a:xfrm>
            <a:prstGeom prst="rect">
              <a:avLst/>
            </a:prstGeom>
          </p:spPr>
        </p:pic>
      </p:grpSp>
      <p:grpSp>
        <p:nvGrpSpPr>
          <p:cNvPr id="1052" name="Group 1051">
            <a:extLst>
              <a:ext uri="{FF2B5EF4-FFF2-40B4-BE49-F238E27FC236}">
                <a16:creationId xmlns:a16="http://schemas.microsoft.com/office/drawing/2014/main" id="{78763AB0-C349-B79C-A03F-AB6515B09F9E}"/>
              </a:ext>
            </a:extLst>
          </p:cNvPr>
          <p:cNvGrpSpPr/>
          <p:nvPr/>
        </p:nvGrpSpPr>
        <p:grpSpPr>
          <a:xfrm>
            <a:off x="3849920" y="1676988"/>
            <a:ext cx="735748" cy="325575"/>
            <a:chOff x="3849920" y="1676988"/>
            <a:chExt cx="735748" cy="325575"/>
          </a:xfrm>
        </p:grpSpPr>
        <p:sp>
          <p:nvSpPr>
            <p:cNvPr id="1040" name="Rectangle 1039">
              <a:extLst>
                <a:ext uri="{FF2B5EF4-FFF2-40B4-BE49-F238E27FC236}">
                  <a16:creationId xmlns:a16="http://schemas.microsoft.com/office/drawing/2014/main" id="{8140B58C-FFE8-09D7-3025-F54F241DEC50}"/>
                </a:ext>
              </a:extLst>
            </p:cNvPr>
            <p:cNvSpPr/>
            <p:nvPr/>
          </p:nvSpPr>
          <p:spPr>
            <a:xfrm>
              <a:off x="3849920" y="186172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frica</a:t>
              </a:r>
              <a:endParaRPr lang="en-GB" sz="600" dirty="0">
                <a:solidFill>
                  <a:schemeClr val="bg1"/>
                </a:solidFill>
                <a:latin typeface="Bierstadt" panose="020B0004020202020204" pitchFamily="34" charset="0"/>
              </a:endParaRPr>
            </a:p>
          </p:txBody>
        </p:sp>
        <p:pic>
          <p:nvPicPr>
            <p:cNvPr id="1047" name="Graphic 1046">
              <a:extLst>
                <a:ext uri="{FF2B5EF4-FFF2-40B4-BE49-F238E27FC236}">
                  <a16:creationId xmlns:a16="http://schemas.microsoft.com/office/drawing/2014/main" id="{E6C27167-7703-52AC-C12E-EF8DF5777C68}"/>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4125424" y="1676988"/>
              <a:ext cx="184737" cy="184737"/>
            </a:xfrm>
            <a:prstGeom prst="rect">
              <a:avLst/>
            </a:prstGeom>
          </p:spPr>
        </p:pic>
      </p:grpSp>
      <p:sp>
        <p:nvSpPr>
          <p:cNvPr id="1054" name="Rectangle 1053">
            <a:extLst>
              <a:ext uri="{FF2B5EF4-FFF2-40B4-BE49-F238E27FC236}">
                <a16:creationId xmlns:a16="http://schemas.microsoft.com/office/drawing/2014/main" id="{E670BFE6-5EAD-AD52-40EE-C97CB4030485}"/>
              </a:ext>
            </a:extLst>
          </p:cNvPr>
          <p:cNvSpPr/>
          <p:nvPr/>
        </p:nvSpPr>
        <p:spPr>
          <a:xfrm>
            <a:off x="4246187" y="163211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sia</a:t>
            </a:r>
            <a:endParaRPr lang="en-GB" sz="600" dirty="0">
              <a:solidFill>
                <a:schemeClr val="bg1"/>
              </a:solidFill>
              <a:latin typeface="Bierstadt" panose="020B0004020202020204" pitchFamily="34" charset="0"/>
            </a:endParaRPr>
          </a:p>
        </p:txBody>
      </p:sp>
      <p:pic>
        <p:nvPicPr>
          <p:cNvPr id="1056" name="Graphic 1055">
            <a:extLst>
              <a:ext uri="{FF2B5EF4-FFF2-40B4-BE49-F238E27FC236}">
                <a16:creationId xmlns:a16="http://schemas.microsoft.com/office/drawing/2014/main" id="{C5A91157-E375-7D55-19B6-5C6117A61521}"/>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4521691" y="1447378"/>
            <a:ext cx="184737" cy="184737"/>
          </a:xfrm>
          <a:prstGeom prst="rect">
            <a:avLst/>
          </a:prstGeom>
        </p:spPr>
      </p:pic>
      <p:grpSp>
        <p:nvGrpSpPr>
          <p:cNvPr id="1060" name="Group 1059">
            <a:extLst>
              <a:ext uri="{FF2B5EF4-FFF2-40B4-BE49-F238E27FC236}">
                <a16:creationId xmlns:a16="http://schemas.microsoft.com/office/drawing/2014/main" id="{31DEC152-21BC-7FC7-95A1-E0E2AEA6116E}"/>
              </a:ext>
            </a:extLst>
          </p:cNvPr>
          <p:cNvGrpSpPr/>
          <p:nvPr/>
        </p:nvGrpSpPr>
        <p:grpSpPr>
          <a:xfrm>
            <a:off x="4625791" y="1431219"/>
            <a:ext cx="735748" cy="325575"/>
            <a:chOff x="4677380" y="1385489"/>
            <a:chExt cx="735748" cy="325575"/>
          </a:xfrm>
        </p:grpSpPr>
        <p:sp>
          <p:nvSpPr>
            <p:cNvPr id="1058" name="Rectangle 1057">
              <a:extLst>
                <a:ext uri="{FF2B5EF4-FFF2-40B4-BE49-F238E27FC236}">
                  <a16:creationId xmlns:a16="http://schemas.microsoft.com/office/drawing/2014/main" id="{02792C57-F4BB-6B65-0A94-5602A2656D53}"/>
                </a:ext>
              </a:extLst>
            </p:cNvPr>
            <p:cNvSpPr/>
            <p:nvPr/>
          </p:nvSpPr>
          <p:spPr>
            <a:xfrm>
              <a:off x="4677380" y="1570226"/>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1057" name="Graphic 1056">
              <a:extLst>
                <a:ext uri="{FF2B5EF4-FFF2-40B4-BE49-F238E27FC236}">
                  <a16:creationId xmlns:a16="http://schemas.microsoft.com/office/drawing/2014/main" id="{1C0A7E55-3B59-5424-BAE3-4C1FBA0A7141}"/>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4952884" y="1385489"/>
              <a:ext cx="184737" cy="184737"/>
            </a:xfrm>
            <a:prstGeom prst="rect">
              <a:avLst/>
            </a:prstGeom>
          </p:spPr>
        </p:pic>
      </p:grpSp>
      <p:grpSp>
        <p:nvGrpSpPr>
          <p:cNvPr id="1061" name="Group 1060">
            <a:extLst>
              <a:ext uri="{FF2B5EF4-FFF2-40B4-BE49-F238E27FC236}">
                <a16:creationId xmlns:a16="http://schemas.microsoft.com/office/drawing/2014/main" id="{A6015B47-B30C-5FD6-A378-0F254AC0BA3C}"/>
              </a:ext>
            </a:extLst>
          </p:cNvPr>
          <p:cNvGrpSpPr/>
          <p:nvPr/>
        </p:nvGrpSpPr>
        <p:grpSpPr>
          <a:xfrm>
            <a:off x="292608" y="3645819"/>
            <a:ext cx="3082392" cy="232459"/>
            <a:chOff x="292608" y="1013780"/>
            <a:chExt cx="3082392" cy="232459"/>
          </a:xfrm>
        </p:grpSpPr>
        <p:cxnSp>
          <p:nvCxnSpPr>
            <p:cNvPr id="1062" name="Straight Connector 1061">
              <a:extLst>
                <a:ext uri="{FF2B5EF4-FFF2-40B4-BE49-F238E27FC236}">
                  <a16:creationId xmlns:a16="http://schemas.microsoft.com/office/drawing/2014/main" id="{E9CCCF08-08C8-EE98-C7A9-80C44E445D6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6" name="COMMENTARY_HEADER">
              <a:extLst>
                <a:ext uri="{FF2B5EF4-FFF2-40B4-BE49-F238E27FC236}">
                  <a16:creationId xmlns:a16="http://schemas.microsoft.com/office/drawing/2014/main" id="{91E72E01-23BD-F919-ED88-608D6E5189CB}"/>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Manager’s commentary and outlook</a:t>
              </a:r>
              <a:endParaRPr lang="en-GB" sz="1000" b="1" dirty="0">
                <a:solidFill>
                  <a:schemeClr val="bg1"/>
                </a:solidFill>
                <a:latin typeface="Bierstadt"/>
              </a:endParaRPr>
            </a:p>
          </p:txBody>
        </p:sp>
      </p:grpSp>
      <p:grpSp>
        <p:nvGrpSpPr>
          <p:cNvPr id="1077" name="Group 1076">
            <a:extLst>
              <a:ext uri="{FF2B5EF4-FFF2-40B4-BE49-F238E27FC236}">
                <a16:creationId xmlns:a16="http://schemas.microsoft.com/office/drawing/2014/main" id="{63B74288-F5DE-C540-D92A-62BFE1FE6B0E}"/>
              </a:ext>
            </a:extLst>
          </p:cNvPr>
          <p:cNvGrpSpPr/>
          <p:nvPr/>
        </p:nvGrpSpPr>
        <p:grpSpPr>
          <a:xfrm>
            <a:off x="3483000" y="3645819"/>
            <a:ext cx="3082392" cy="232459"/>
            <a:chOff x="292608" y="1013780"/>
            <a:chExt cx="3082392" cy="232459"/>
          </a:xfrm>
        </p:grpSpPr>
        <p:cxnSp>
          <p:nvCxnSpPr>
            <p:cNvPr id="1078" name="Straight Connector 1077">
              <a:extLst>
                <a:ext uri="{FF2B5EF4-FFF2-40B4-BE49-F238E27FC236}">
                  <a16:creationId xmlns:a16="http://schemas.microsoft.com/office/drawing/2014/main" id="{36B6E2A3-6B9B-7AEB-B920-3CE8677854C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9" name="Rectangle 1078">
              <a:extLst>
                <a:ext uri="{FF2B5EF4-FFF2-40B4-BE49-F238E27FC236}">
                  <a16:creationId xmlns:a16="http://schemas.microsoft.com/office/drawing/2014/main" id="{AD98B1AA-B101-E926-80DD-6DFD60DE89D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Fee details</a:t>
              </a:r>
              <a:endParaRPr lang="en-GB" sz="1000" b="1" dirty="0">
                <a:solidFill>
                  <a:schemeClr val="bg1"/>
                </a:solidFill>
                <a:latin typeface="Bierstadt"/>
              </a:endParaRPr>
            </a:p>
          </p:txBody>
        </p:sp>
      </p:grpSp>
      <p:sp>
        <p:nvSpPr>
          <p:cNvPr id="1080" name="COMMENTARY_TEXT">
            <a:extLst>
              <a:ext uri="{FF2B5EF4-FFF2-40B4-BE49-F238E27FC236}">
                <a16:creationId xmlns:a16="http://schemas.microsoft.com/office/drawing/2014/main" id="{323259A2-7335-3BC8-826B-B1452ECF431C}"/>
              </a:ext>
            </a:extLst>
          </p:cNvPr>
          <p:cNvSpPr txBox="1"/>
          <p:nvPr/>
        </p:nvSpPr>
        <p:spPr>
          <a:xfrm>
            <a:off x="292607" y="3878278"/>
            <a:ext cx="3082392" cy="327960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s of September 30, 2025, our portfolio has delivered a solid return since inception of 42.36%, translating to an average annual compounded return of 9.08%. This performance underscores our commitment to identifying high-quality investments amid a dynamic market landscape. Recent market volatility, particularly in the technology sector, has been driven by concerns surrounding AI infrastructure, notably highlighted by steep declines in stocks such as Nvidia. While these developments have affected market sentiment, our portfolio remains resilient, supported by a diversified approach and a focus on long-term value creation.
Looking ahead, we are mindful of the evolving economic landscape and potential risks, including geopolitical tensions and market corrections. The recent downturn in commodities, particularly in gold and silver, reflects broader market uncertainties that could impact investor sentiment. However, we believe that the fundamentals of our holdings remain strong. Our strategy will continue to adapt to market conditions, aiming to capitalize on opportunities while managing risk effectively. We remain optimistic about our ability to navigate these challenges and deliver</a:t>
            </a:r>
          </a:p>
        </p:txBody>
      </p:sp>
      <p:grpSp>
        <p:nvGrpSpPr>
          <p:cNvPr id="1082" name="Group 1081">
            <a:extLst>
              <a:ext uri="{FF2B5EF4-FFF2-40B4-BE49-F238E27FC236}">
                <a16:creationId xmlns:a16="http://schemas.microsoft.com/office/drawing/2014/main" id="{16F62F2C-8EDD-7F9A-6CCB-82CC6BC3FC03}"/>
              </a:ext>
            </a:extLst>
          </p:cNvPr>
          <p:cNvGrpSpPr/>
          <p:nvPr/>
        </p:nvGrpSpPr>
        <p:grpSpPr>
          <a:xfrm>
            <a:off x="292608" y="7156098"/>
            <a:ext cx="3082392" cy="232459"/>
            <a:chOff x="292608" y="1013780"/>
            <a:chExt cx="3082392" cy="232459"/>
          </a:xfrm>
        </p:grpSpPr>
        <p:cxnSp>
          <p:nvCxnSpPr>
            <p:cNvPr id="1083" name="Straight Connector 1082">
              <a:extLst>
                <a:ext uri="{FF2B5EF4-FFF2-40B4-BE49-F238E27FC236}">
                  <a16:creationId xmlns:a16="http://schemas.microsoft.com/office/drawing/2014/main" id="{60BE3819-D082-A639-351A-65CA062DC3D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4" name="Rectangle 1083">
              <a:extLst>
                <a:ext uri="{FF2B5EF4-FFF2-40B4-BE49-F238E27FC236}">
                  <a16:creationId xmlns:a16="http://schemas.microsoft.com/office/drawing/2014/main" id="{E4D9E261-3588-EE68-8686-D487FFF50BF8}"/>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Investment platform</a:t>
              </a:r>
              <a:endParaRPr lang="en-GB" sz="1000" b="1" dirty="0">
                <a:solidFill>
                  <a:schemeClr val="bg1"/>
                </a:solidFill>
                <a:latin typeface="Bierstadt"/>
              </a:endParaRPr>
            </a:p>
          </p:txBody>
        </p:sp>
      </p:grpSp>
      <p:sp>
        <p:nvSpPr>
          <p:cNvPr id="1085" name="TextBox 1084">
            <a:extLst>
              <a:ext uri="{FF2B5EF4-FFF2-40B4-BE49-F238E27FC236}">
                <a16:creationId xmlns:a16="http://schemas.microsoft.com/office/drawing/2014/main" id="{7C2F41DD-E337-96EE-5548-96B24121BCEB}"/>
              </a:ext>
            </a:extLst>
          </p:cNvPr>
          <p:cNvSpPr txBox="1"/>
          <p:nvPr/>
        </p:nvSpPr>
        <p:spPr>
          <a:xfrm>
            <a:off x="292607" y="7388557"/>
            <a:ext cx="3082392" cy="507831"/>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Kukula uses the Saxo Bank/DMA platform. Investors are responsible for the associated platform fees and transaction costs. </a:t>
            </a:r>
          </a:p>
        </p:txBody>
      </p:sp>
      <p:grpSp>
        <p:nvGrpSpPr>
          <p:cNvPr id="1089" name="Group 1088">
            <a:extLst>
              <a:ext uri="{FF2B5EF4-FFF2-40B4-BE49-F238E27FC236}">
                <a16:creationId xmlns:a16="http://schemas.microsoft.com/office/drawing/2014/main" id="{7B8D818A-58BD-DE81-8D77-CDBA489AFA18}"/>
              </a:ext>
            </a:extLst>
          </p:cNvPr>
          <p:cNvGrpSpPr/>
          <p:nvPr/>
        </p:nvGrpSpPr>
        <p:grpSpPr>
          <a:xfrm>
            <a:off x="1794357" y="7746171"/>
            <a:ext cx="747129" cy="128203"/>
            <a:chOff x="1611477" y="7746171"/>
            <a:chExt cx="747129" cy="128203"/>
          </a:xfrm>
        </p:grpSpPr>
        <p:pic>
          <p:nvPicPr>
            <p:cNvPr id="1086" name="Picture 1085">
              <a:extLst>
                <a:ext uri="{FF2B5EF4-FFF2-40B4-BE49-F238E27FC236}">
                  <a16:creationId xmlns:a16="http://schemas.microsoft.com/office/drawing/2014/main" id="{D7283381-87BF-61DF-DFA2-2DCC78B785C3}"/>
                </a:ext>
              </a:extLst>
            </p:cNvPr>
            <p:cNvPicPr>
              <a:picLocks noChangeAspect="1"/>
            </p:cNvPicPr>
            <p:nvPr/>
          </p:nvPicPr>
          <p:blipFill>
            <a:blip r:embed="rId42">
              <a:extLst>
                <a:ext uri="{BEBA8EAE-BF5A-486C-A8C5-ECC9F3942E4B}">
                  <a14:imgProps xmlns:a14="http://schemas.microsoft.com/office/drawing/2010/main">
                    <a14:imgLayer r:embed="rId43">
                      <a14:imgEffect>
                        <a14:brightnessContrast bright="100000"/>
                      </a14:imgEffect>
                    </a14:imgLayer>
                  </a14:imgProps>
                </a:ext>
              </a:extLst>
            </a:blip>
            <a:stretch>
              <a:fillRect/>
            </a:stretch>
          </p:blipFill>
          <p:spPr>
            <a:xfrm>
              <a:off x="1611477" y="7746171"/>
              <a:ext cx="295284" cy="128203"/>
            </a:xfrm>
            <a:prstGeom prst="rect">
              <a:avLst/>
            </a:prstGeom>
          </p:spPr>
        </p:pic>
        <p:pic>
          <p:nvPicPr>
            <p:cNvPr id="1088" name="Picture 1087">
              <a:extLst>
                <a:ext uri="{FF2B5EF4-FFF2-40B4-BE49-F238E27FC236}">
                  <a16:creationId xmlns:a16="http://schemas.microsoft.com/office/drawing/2014/main" id="{1BBAF1CB-2454-4A7B-FC9F-F748A4F143F1}"/>
                </a:ext>
              </a:extLst>
            </p:cNvPr>
            <p:cNvPicPr>
              <a:picLocks noChangeAspect="1"/>
            </p:cNvPicPr>
            <p:nvPr/>
          </p:nvPicPr>
          <p:blipFill>
            <a:blip r:embed="rId44">
              <a:extLst>
                <a:ext uri="{BEBA8EAE-BF5A-486C-A8C5-ECC9F3942E4B}">
                  <a14:imgProps xmlns:a14="http://schemas.microsoft.com/office/drawing/2010/main">
                    <a14:imgLayer r:embed="rId45">
                      <a14:imgEffect>
                        <a14:brightnessContrast bright="100000"/>
                      </a14:imgEffect>
                    </a14:imgLayer>
                  </a14:imgProps>
                </a:ext>
              </a:extLst>
            </a:blip>
            <a:stretch>
              <a:fillRect/>
            </a:stretch>
          </p:blipFill>
          <p:spPr>
            <a:xfrm>
              <a:off x="2002893" y="7758968"/>
              <a:ext cx="355713" cy="102609"/>
            </a:xfrm>
            <a:prstGeom prst="rect">
              <a:avLst/>
            </a:prstGeom>
          </p:spPr>
        </p:pic>
      </p:grpSp>
      <p:sp>
        <p:nvSpPr>
          <p:cNvPr id="1090" name="TextBox 1089">
            <a:extLst>
              <a:ext uri="{FF2B5EF4-FFF2-40B4-BE49-F238E27FC236}">
                <a16:creationId xmlns:a16="http://schemas.microsoft.com/office/drawing/2014/main" id="{C10D8FCD-A37B-DDE8-B950-D8BD61E35EED}"/>
              </a:ext>
            </a:extLst>
          </p:cNvPr>
          <p:cNvSpPr txBox="1"/>
          <p:nvPr/>
        </p:nvSpPr>
        <p:spPr>
          <a:xfrm>
            <a:off x="3483000" y="3878278"/>
            <a:ext cx="3082392" cy="369332"/>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Portfolios are  managed on a discretionary basis and are subject to the following fees: </a:t>
            </a:r>
          </a:p>
        </p:txBody>
      </p:sp>
      <p:graphicFrame>
        <p:nvGraphicFramePr>
          <p:cNvPr id="1092" name="FEES_TABLE">
            <a:extLst>
              <a:ext uri="{FF2B5EF4-FFF2-40B4-BE49-F238E27FC236}">
                <a16:creationId xmlns:a16="http://schemas.microsoft.com/office/drawing/2014/main" id="{D1274BE3-4EFF-76CA-8ED5-C8EF8E1C3B53}"/>
              </a:ext>
            </a:extLst>
          </p:cNvPr>
          <p:cNvGraphicFramePr>
            <a:graphicFrameLocks noGrp="1"/>
          </p:cNvGraphicFramePr>
          <p:nvPr>
            <p:extLst>
              <p:ext uri="{D42A27DB-BD31-4B8C-83A1-F6EECF244321}">
                <p14:modId xmlns:p14="http://schemas.microsoft.com/office/powerpoint/2010/main" val="3458982352"/>
              </p:ext>
            </p:extLst>
          </p:nvPr>
        </p:nvGraphicFramePr>
        <p:xfrm>
          <a:off x="3483000" y="4282627"/>
          <a:ext cx="3082392" cy="1188720"/>
        </p:xfrm>
        <a:graphic>
          <a:graphicData uri="http://schemas.openxmlformats.org/drawingml/2006/table">
            <a:tbl>
              <a:tblPr firstRow="1" bandRow="1">
                <a:tableStyleId>{2D5ABB26-0587-4C30-8999-92F81FD0307C}</a:tableStyleId>
              </a:tblPr>
              <a:tblGrid>
                <a:gridCol w="2100103">
                  <a:extLst>
                    <a:ext uri="{9D8B030D-6E8A-4147-A177-3AD203B41FA5}">
                      <a16:colId xmlns:a16="http://schemas.microsoft.com/office/drawing/2014/main" val="787351053"/>
                    </a:ext>
                  </a:extLst>
                </a:gridCol>
                <a:gridCol w="982289">
                  <a:extLst>
                    <a:ext uri="{9D8B030D-6E8A-4147-A177-3AD203B41FA5}">
                      <a16:colId xmlns:a16="http://schemas.microsoft.com/office/drawing/2014/main" val="2002166547"/>
                    </a:ext>
                  </a:extLst>
                </a:gridCol>
              </a:tblGrid>
              <a:tr h="274320">
                <a:tc>
                  <a:txBody>
                    <a:bodyPr/>
                    <a:lstStyle/>
                    <a:p>
                      <a:r>
                        <a:rPr lang="en-US" sz="900" dirty="0">
                          <a:solidFill>
                            <a:schemeClr val="bg1"/>
                          </a:solidFill>
                        </a:rPr>
                        <a:t>Item</a:t>
                      </a:r>
                      <a:endParaRPr lang="en-GB" sz="900" dirty="0">
                        <a:solidFill>
                          <a:schemeClr val="bg1"/>
                        </a:solidFill>
                      </a:endParaRPr>
                    </a:p>
                  </a:txBody>
                  <a:tcPr/>
                </a:tc>
                <a:tc>
                  <a:txBody>
                    <a:bodyPr/>
                    <a:lstStyle/>
                    <a:p>
                      <a:pPr algn="ctr"/>
                      <a:r>
                        <a:rPr lang="en-GB" sz="900" dirty="0">
                          <a:solidFill>
                            <a:schemeClr val="bg1"/>
                          </a:solidFill>
                        </a:rPr>
                        <a:t>Value</a:t>
                      </a:r>
                    </a:p>
                  </a:txBody>
                  <a:tcPr/>
                </a:tc>
                <a:extLst>
                  <a:ext uri="{0D108BD9-81ED-4DB2-BD59-A6C34878D82A}">
                    <a16:rowId xmlns:a16="http://schemas.microsoft.com/office/drawing/2014/main" val="1221449719"/>
                  </a:ext>
                </a:extLst>
              </a:tr>
              <a:tr h="274320">
                <a:tc>
                  <a:txBody>
                    <a:bodyPr/>
                    <a:lstStyle/>
                    <a:p>
                      <a:r>
                        <a:rPr lang="en-GB" sz="900">
                          <a:solidFill>
                            <a:schemeClr val="bg1"/>
                          </a:solidFill>
                        </a:rPr>
                        <a:t>Annual Management Fee (Incl. VAT)</a:t>
                      </a:r>
                    </a:p>
                  </a:txBody>
                  <a:tcPr/>
                </a:tc>
                <a:tc>
                  <a:txBody>
                    <a:bodyPr/>
                    <a:lstStyle/>
                    <a:p>
                      <a:pPr algn="ctr"/>
                      <a:r>
                        <a:rPr lang="en-GB" sz="900">
                          <a:solidFill>
                            <a:schemeClr val="bg1"/>
                          </a:solidFill>
                        </a:rPr>
                        <a:t>1 %</a:t>
                      </a:r>
                    </a:p>
                  </a:txBody>
                  <a:tcPr/>
                </a:tc>
                <a:extLst>
                  <a:ext uri="{0D108BD9-81ED-4DB2-BD59-A6C34878D82A}">
                    <a16:rowId xmlns:a16="http://schemas.microsoft.com/office/drawing/2014/main" val="978931475"/>
                  </a:ext>
                </a:extLst>
              </a:tr>
              <a:tr h="274320">
                <a:tc>
                  <a:txBody>
                    <a:bodyPr/>
                    <a:lstStyle/>
                    <a:p>
                      <a:r>
                        <a:rPr lang="en-GB" sz="900">
                          <a:solidFill>
                            <a:schemeClr val="bg1"/>
                          </a:solidFill>
                        </a:rPr>
                        <a:t>Performance Fee</a:t>
                      </a:r>
                    </a:p>
                  </a:txBody>
                  <a:tcPr/>
                </a:tc>
                <a:tc>
                  <a:txBody>
                    <a:bodyPr/>
                    <a:lstStyle/>
                    <a:p>
                      <a:pPr algn="ctr"/>
                      <a:r>
                        <a:rPr lang="en-GB" sz="900">
                          <a:solidFill>
                            <a:schemeClr val="bg1"/>
                          </a:solidFill>
                        </a:rPr>
                        <a:t>None</a:t>
                      </a:r>
                    </a:p>
                  </a:txBody>
                  <a:tcPr/>
                </a:tc>
                <a:extLst>
                  <a:ext uri="{0D108BD9-81ED-4DB2-BD59-A6C34878D82A}">
                    <a16:rowId xmlns:a16="http://schemas.microsoft.com/office/drawing/2014/main" val="3512116622"/>
                  </a:ext>
                </a:extLst>
              </a:tr>
              <a:tr h="365760">
                <a:tc>
                  <a:txBody>
                    <a:bodyPr/>
                    <a:lstStyle/>
                    <a:p>
                      <a:r>
                        <a:rPr lang="en-GB" sz="900" dirty="0">
                          <a:solidFill>
                            <a:schemeClr val="bg1"/>
                          </a:solidFill>
                        </a:rPr>
                        <a:t>Transaction Costs &amp; Commissions</a:t>
                      </a:r>
                    </a:p>
                  </a:txBody>
                  <a:tcPr/>
                </a:tc>
                <a:tc>
                  <a:txBody>
                    <a:bodyPr/>
                    <a:lstStyle/>
                    <a:p>
                      <a:pPr algn="ctr"/>
                      <a:r>
                        <a:rPr lang="fi-FI" sz="900" dirty="0">
                          <a:solidFill>
                            <a:schemeClr val="bg1"/>
                          </a:solidFill>
                        </a:rPr>
                        <a:t>See schedule</a:t>
                      </a:r>
                      <a:endParaRPr lang="en-GB" sz="900" dirty="0">
                        <a:solidFill>
                          <a:schemeClr val="bg1"/>
                        </a:solidFill>
                      </a:endParaRPr>
                    </a:p>
                  </a:txBody>
                  <a:tcPr/>
                </a:tc>
                <a:extLst>
                  <a:ext uri="{0D108BD9-81ED-4DB2-BD59-A6C34878D82A}">
                    <a16:rowId xmlns:a16="http://schemas.microsoft.com/office/drawing/2014/main" val="775751832"/>
                  </a:ext>
                </a:extLst>
              </a:tr>
            </a:tbl>
          </a:graphicData>
        </a:graphic>
      </p:graphicFrame>
      <p:grpSp>
        <p:nvGrpSpPr>
          <p:cNvPr id="1093" name="Group 1092">
            <a:extLst>
              <a:ext uri="{FF2B5EF4-FFF2-40B4-BE49-F238E27FC236}">
                <a16:creationId xmlns:a16="http://schemas.microsoft.com/office/drawing/2014/main" id="{187DFE29-FCB0-4BE8-C371-3A8A6037B1EA}"/>
              </a:ext>
            </a:extLst>
          </p:cNvPr>
          <p:cNvGrpSpPr/>
          <p:nvPr/>
        </p:nvGrpSpPr>
        <p:grpSpPr>
          <a:xfrm>
            <a:off x="3483000" y="6681577"/>
            <a:ext cx="3082392" cy="232459"/>
            <a:chOff x="292608" y="1013780"/>
            <a:chExt cx="3082392" cy="232459"/>
          </a:xfrm>
        </p:grpSpPr>
        <p:cxnSp>
          <p:nvCxnSpPr>
            <p:cNvPr id="1094" name="Straight Connector 1093">
              <a:extLst>
                <a:ext uri="{FF2B5EF4-FFF2-40B4-BE49-F238E27FC236}">
                  <a16:creationId xmlns:a16="http://schemas.microsoft.com/office/drawing/2014/main" id="{8A053FAC-BB54-C262-46C1-72164E63F0EF}"/>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95" name="Rectangle 1094">
              <a:extLst>
                <a:ext uri="{FF2B5EF4-FFF2-40B4-BE49-F238E27FC236}">
                  <a16:creationId xmlns:a16="http://schemas.microsoft.com/office/drawing/2014/main" id="{253824F6-E8DB-AE96-9FCC-4482C5BC8A1E}"/>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Custody arrangement</a:t>
              </a:r>
              <a:endParaRPr lang="en-GB" sz="1000" b="1" dirty="0">
                <a:solidFill>
                  <a:schemeClr val="bg1"/>
                </a:solidFill>
                <a:latin typeface="Bierstadt"/>
              </a:endParaRPr>
            </a:p>
          </p:txBody>
        </p:sp>
      </p:grpSp>
      <p:sp>
        <p:nvSpPr>
          <p:cNvPr id="1096" name="TextBox 1095">
            <a:extLst>
              <a:ext uri="{FF2B5EF4-FFF2-40B4-BE49-F238E27FC236}">
                <a16:creationId xmlns:a16="http://schemas.microsoft.com/office/drawing/2014/main" id="{DC300D0E-2855-8FE4-958F-C4D783103B35}"/>
              </a:ext>
            </a:extLst>
          </p:cNvPr>
          <p:cNvSpPr txBox="1"/>
          <p:nvPr/>
        </p:nvSpPr>
        <p:spPr>
          <a:xfrm>
            <a:off x="3483000" y="6914036"/>
            <a:ext cx="3082392" cy="92333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ll securities are held with CITI Group in the name of Saxo Bank and segregated in the name of DMA Mauritius. A full sub-register is maintained for the beneficial owner of the assets, which are reported live via the available platforms. Positions are settled daily and reconciled against the custodian.</a:t>
            </a:r>
          </a:p>
        </p:txBody>
      </p:sp>
      <p:pic>
        <p:nvPicPr>
          <p:cNvPr id="1097" name="Picture 1096">
            <a:extLst>
              <a:ext uri="{FF2B5EF4-FFF2-40B4-BE49-F238E27FC236}">
                <a16:creationId xmlns:a16="http://schemas.microsoft.com/office/drawing/2014/main" id="{0034B60D-EAD9-43F5-0AC7-B3BF7ADD7D6C}"/>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Lst>
          </a:blip>
          <a:stretch>
            <a:fillRect/>
          </a:stretch>
        </p:blipFill>
        <p:spPr>
          <a:xfrm>
            <a:off x="4176124" y="7694086"/>
            <a:ext cx="268440" cy="174381"/>
          </a:xfrm>
          <a:prstGeom prst="rect">
            <a:avLst/>
          </a:prstGeom>
        </p:spPr>
      </p:pic>
      <p:grpSp>
        <p:nvGrpSpPr>
          <p:cNvPr id="8" name="Group 7">
            <a:extLst>
              <a:ext uri="{FF2B5EF4-FFF2-40B4-BE49-F238E27FC236}">
                <a16:creationId xmlns:a16="http://schemas.microsoft.com/office/drawing/2014/main" id="{CA34CC3D-ECA9-657D-4BE5-07CA9BF1A4DF}"/>
              </a:ext>
            </a:extLst>
          </p:cNvPr>
          <p:cNvGrpSpPr/>
          <p:nvPr/>
        </p:nvGrpSpPr>
        <p:grpSpPr>
          <a:xfrm>
            <a:off x="3483000" y="5394543"/>
            <a:ext cx="3082392" cy="232459"/>
            <a:chOff x="292608" y="1013780"/>
            <a:chExt cx="3082392" cy="232459"/>
          </a:xfrm>
        </p:grpSpPr>
        <p:cxnSp>
          <p:nvCxnSpPr>
            <p:cNvPr id="9" name="Straight Connector 8">
              <a:extLst>
                <a:ext uri="{FF2B5EF4-FFF2-40B4-BE49-F238E27FC236}">
                  <a16:creationId xmlns:a16="http://schemas.microsoft.com/office/drawing/2014/main" id="{62287BB3-EB82-E44D-C789-987308439917}"/>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2993028-7690-328C-2008-71AD6E6070D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Risk profile: Moderate to high</a:t>
              </a:r>
            </a:p>
          </p:txBody>
        </p:sp>
      </p:grpSp>
      <p:sp>
        <p:nvSpPr>
          <p:cNvPr id="15" name="TextBox 14">
            <a:extLst>
              <a:ext uri="{FF2B5EF4-FFF2-40B4-BE49-F238E27FC236}">
                <a16:creationId xmlns:a16="http://schemas.microsoft.com/office/drawing/2014/main" id="{BB650FBF-C6E6-1B4B-B096-B08DF6A76B9F}"/>
              </a:ext>
            </a:extLst>
          </p:cNvPr>
          <p:cNvSpPr txBox="1"/>
          <p:nvPr/>
        </p:nvSpPr>
        <p:spPr>
          <a:xfrm>
            <a:off x="3482999" y="5640856"/>
            <a:ext cx="3082392" cy="10618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portfolio invests exclusively in equiti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Suitable for medium- to long-term investment horiz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Exposed to market risk and broader economic fluctu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Offshore holdings may introduce additional currency risk.</a:t>
            </a:r>
          </a:p>
        </p:txBody>
      </p:sp>
      <p:graphicFrame>
        <p:nvGraphicFramePr>
          <p:cNvPr id="19" name="PIE_SECTOR">
            <a:extLst>
              <a:ext uri="{FF2B5EF4-FFF2-40B4-BE49-F238E27FC236}">
                <a16:creationId xmlns:a16="http://schemas.microsoft.com/office/drawing/2014/main" id="{D2CBA324-1F53-F6AE-B7AD-2A492A5AEB03}"/>
              </a:ext>
            </a:extLst>
          </p:cNvPr>
          <p:cNvGraphicFramePr/>
          <p:nvPr>
            <p:extLst>
              <p:ext uri="{D42A27DB-BD31-4B8C-83A1-F6EECF244321}">
                <p14:modId xmlns:p14="http://schemas.microsoft.com/office/powerpoint/2010/main" val="2313099284"/>
              </p:ext>
            </p:extLst>
          </p:nvPr>
        </p:nvGraphicFramePr>
        <p:xfrm>
          <a:off x="179636" y="1369215"/>
          <a:ext cx="3308336" cy="2599281"/>
        </p:xfrm>
        <a:graphic>
          <a:graphicData uri="http://schemas.openxmlformats.org/drawingml/2006/chart">
            <c:chart xmlns:c="http://schemas.openxmlformats.org/drawingml/2006/chart" xmlns:r="http://schemas.openxmlformats.org/officeDocument/2006/relationships" r:id="rId48"/>
          </a:graphicData>
        </a:graphic>
      </p:graphicFrame>
      <p:graphicFrame>
        <p:nvGraphicFramePr>
          <p:cNvPr id="24" name="PIE_REGION">
            <a:extLst>
              <a:ext uri="{FF2B5EF4-FFF2-40B4-BE49-F238E27FC236}">
                <a16:creationId xmlns:a16="http://schemas.microsoft.com/office/drawing/2014/main" id="{5A1279A8-4FC1-1BCB-FBA4-B5D2FDD41E17}"/>
              </a:ext>
            </a:extLst>
          </p:cNvPr>
          <p:cNvGraphicFramePr/>
          <p:nvPr>
            <p:extLst>
              <p:ext uri="{D42A27DB-BD31-4B8C-83A1-F6EECF244321}">
                <p14:modId xmlns:p14="http://schemas.microsoft.com/office/powerpoint/2010/main" val="2252226221"/>
              </p:ext>
            </p:extLst>
          </p:nvPr>
        </p:nvGraphicFramePr>
        <p:xfrm>
          <a:off x="3370028" y="1369215"/>
          <a:ext cx="3308336" cy="2599281"/>
        </p:xfrm>
        <a:graphic>
          <a:graphicData uri="http://schemas.openxmlformats.org/drawingml/2006/chart">
            <c:chart xmlns:c="http://schemas.openxmlformats.org/drawingml/2006/chart" xmlns:r="http://schemas.openxmlformats.org/officeDocument/2006/relationships" r:id="rId49"/>
          </a:graphicData>
        </a:graphic>
      </p:graphicFrame>
    </p:spTree>
    <p:extLst>
      <p:ext uri="{BB962C8B-B14F-4D97-AF65-F5344CB8AC3E}">
        <p14:creationId xmlns:p14="http://schemas.microsoft.com/office/powerpoint/2010/main" val="2308560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Kukula capital">
      <a:dk1>
        <a:srgbClr val="000000"/>
      </a:dk1>
      <a:lt1>
        <a:srgbClr val="FFFFFF"/>
      </a:lt1>
      <a:dk2>
        <a:srgbClr val="A6A6A6"/>
      </a:dk2>
      <a:lt2>
        <a:srgbClr val="F2F2F2"/>
      </a:lt2>
      <a:accent1>
        <a:srgbClr val="466835"/>
      </a:accent1>
      <a:accent2>
        <a:srgbClr val="A6A6A6"/>
      </a:accent2>
      <a:accent3>
        <a:srgbClr val="F2F2F2"/>
      </a:accent3>
      <a:accent4>
        <a:srgbClr val="E2F0D9"/>
      </a:accent4>
      <a:accent5>
        <a:srgbClr val="549E39"/>
      </a:accent5>
      <a:accent6>
        <a:srgbClr val="385723"/>
      </a:accent6>
      <a:hlink>
        <a:srgbClr val="000000"/>
      </a:hlink>
      <a:folHlink>
        <a:srgbClr val="000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79DDE9-9681-4839-A726-05A6EE002B45}">
  <we:reference id="wa104381063" version="1.0.0.1" store="en-US" storeType="OMEX"/>
  <we:alternateReferences>
    <we:reference id="WA104381063" version="1.0.0.1" store="da-DK"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3443</TotalTime>
  <Words>1064</Words>
  <Application>Microsoft Office PowerPoint</Application>
  <PresentationFormat>A4 Paper (210x297 mm)</PresentationFormat>
  <Paragraphs>279</Paragraphs>
  <Slides>2</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vt:i4>
      </vt:variant>
    </vt:vector>
  </HeadingPairs>
  <TitlesOfParts>
    <vt:vector size="9" baseType="lpstr">
      <vt:lpstr>Arial</vt:lpstr>
      <vt:lpstr>Bierstadt</vt:lpstr>
      <vt:lpstr>Calibri</vt:lpstr>
      <vt:lpstr>Calibri Light</vt:lpstr>
      <vt:lpstr>Helvetica</vt:lpstr>
      <vt:lpstr>Skeena</vt:lpstr>
      <vt:lpstr>Office Them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us Bak</dc:creator>
  <cp:lastModifiedBy>Henning Olweus - Implement Consulting Group</cp:lastModifiedBy>
  <cp:revision>22</cp:revision>
  <dcterms:created xsi:type="dcterms:W3CDTF">2021-05-24T08:47:30Z</dcterms:created>
  <dcterms:modified xsi:type="dcterms:W3CDTF">2025-10-29T13:48:59Z</dcterms:modified>
</cp:coreProperties>
</file>